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6"/>
  </p:notesMasterIdLst>
  <p:sldIdLst>
    <p:sldId id="347" r:id="rId2"/>
    <p:sldId id="313" r:id="rId3"/>
    <p:sldId id="315" r:id="rId4"/>
    <p:sldId id="348" r:id="rId5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4585A"/>
    <a:srgbClr val="ED8B00"/>
    <a:srgbClr val="78BE2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9D7B26C5-4107-4FEC-AEDC-1716B250A1EF}" styleName="Светлый стиль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68D230F3-CF80-4859-8CE7-A43EE81993B5}" styleName="Светлый стиль 1 — акцент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46" autoAdjust="0"/>
    <p:restoredTop sz="94598" autoAdjust="0"/>
  </p:normalViewPr>
  <p:slideViewPr>
    <p:cSldViewPr snapToGrid="0">
      <p:cViewPr varScale="1">
        <p:scale>
          <a:sx n="108" d="100"/>
          <a:sy n="108" d="100"/>
        </p:scale>
        <p:origin x="678" y="9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745CB38-9C21-46A4-AA2A-66BF7929604A}" type="datetimeFigureOut">
              <a:rPr lang="ru-RU" smtClean="0"/>
              <a:t>27.10.202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A323DC5-0EDB-42F0-B45E-D7B3307B58D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2246612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533639-740B-4B87-A971-B6651EC8AFE0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8936341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323DC5-0EDB-42F0-B45E-D7B3307B58DE}" type="slidenum">
              <a:rPr lang="ru-RU" smtClean="0"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175386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B57E429-660B-4E60-A158-4F1191AFA64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C8B0DF03-E07D-489B-BE8E-4BF043A8BE3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2A441979-FBA3-4ABD-BE57-3628775E89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74A81002-2FCF-4F34-A9A0-DE617314F8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999B2AEE-6BD2-4B22-BAB5-855D6DECDF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F22C2B-66B5-413D-AB84-8DFE9FB86C8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3452183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923F826-DF34-4580-910F-E3BF3DF0A3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BA842D4A-F1EF-4E06-826A-7B5A60DC2B7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93D493B7-8E95-4AFC-ABD8-8D2E2E00D3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811FDF9F-02BF-4F8C-A0CD-0AB38644CB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3CCBCD06-A4D3-48E3-8E20-A66C3EFA58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F22C2B-66B5-413D-AB84-8DFE9FB86C8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5892661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id="{0BACF768-6B8C-4C39-869D-BF526FF0402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432E8C94-C54D-475E-9DE8-F1993D41DCC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4C8878CE-298C-4A78-8903-7F351E6532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9FEA09DB-68EB-4EBE-A53E-095A4C1407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3FCA9962-ACD2-4680-927C-EF0099EDFB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F22C2B-66B5-413D-AB84-8DFE9FB86C8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7686202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Титул светлый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4" name="Слайд think-cell" r:id="rId4" imgW="395" imgH="396" progId="TCLayout.ActiveDocument.1">
                  <p:embed/>
                </p:oleObj>
              </mc:Choice>
              <mc:Fallback>
                <p:oleObj name="Слайд think-cell" r:id="rId4" imgW="395" imgH="396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0ADC001C-CDF4-4293-8F86-3BBE9370965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71499" y="2522816"/>
            <a:ext cx="8995021" cy="1107996"/>
          </a:xfrm>
        </p:spPr>
        <p:txBody>
          <a:bodyPr vert="horz" wrap="square" lIns="0" tIns="0" rIns="0" bIns="0" anchor="b">
            <a:spAutoFit/>
          </a:bodyPr>
          <a:lstStyle>
            <a:lvl1pPr algn="l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br>
              <a:rPr lang="ru-RU" dirty="0"/>
            </a:br>
            <a:r>
              <a:rPr lang="ru-RU" dirty="0"/>
              <a:t>вторая строчка</a:t>
            </a:r>
            <a:endParaRPr lang="en-US" dirty="0"/>
          </a:p>
        </p:txBody>
      </p:sp>
      <p:sp>
        <p:nvSpPr>
          <p:cNvPr id="11" name="Подзаголовок 2">
            <a:extLst>
              <a:ext uri="{FF2B5EF4-FFF2-40B4-BE49-F238E27FC236}">
                <a16:creationId xmlns:a16="http://schemas.microsoft.com/office/drawing/2014/main" id="{4D22471E-80E5-4159-8B41-DF68D85A663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71499" y="3837164"/>
            <a:ext cx="8995021" cy="251800"/>
          </a:xfrm>
        </p:spPr>
        <p:txBody>
          <a:bodyPr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80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Дата</a:t>
            </a:r>
            <a:endParaRPr lang="en-US" dirty="0"/>
          </a:p>
        </p:txBody>
      </p:sp>
      <p:pic>
        <p:nvPicPr>
          <p:cNvPr id="8" name="Рисунок 7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72400" y="655200"/>
            <a:ext cx="1630800" cy="50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37045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Контентный слайд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2" name="Слайд think-cell" r:id="rId4" imgW="395" imgH="396" progId="TCLayout.ActiveDocument.1">
                  <p:embed/>
                </p:oleObj>
              </mc:Choice>
              <mc:Fallback>
                <p:oleObj name="Слайд think-cell" r:id="rId4" imgW="395" imgH="396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083066BF-5ACA-A70B-9988-F65CA097F9B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499" y="257185"/>
            <a:ext cx="10002539" cy="369332"/>
          </a:xfrm>
        </p:spPr>
        <p:txBody>
          <a:bodyPr vert="horz" wrap="square">
            <a:spAutoFit/>
          </a:bodyPr>
          <a:lstStyle>
            <a:lvl1pPr>
              <a:lnSpc>
                <a:spcPct val="100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Образец заголовка длиной до двух строк</a:t>
            </a:r>
            <a:endParaRPr lang="en-US" dirty="0"/>
          </a:p>
        </p:txBody>
      </p:sp>
      <p:pic>
        <p:nvPicPr>
          <p:cNvPr id="8" name="Рисунок 7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674000" y="257185"/>
            <a:ext cx="972000" cy="288000"/>
          </a:xfrm>
          <a:prstGeom prst="rect">
            <a:avLst/>
          </a:prstGeom>
        </p:spPr>
      </p:pic>
      <p:sp>
        <p:nvSpPr>
          <p:cNvPr id="2" name="Нижний колонтитул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66344E1-0F76-4023-B180-E4B0CE5660A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75515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Контент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0" name="Слайд think-cell" r:id="rId4" imgW="395" imgH="396" progId="TCLayout.ActiveDocument.1">
                  <p:embed/>
                </p:oleObj>
              </mc:Choice>
              <mc:Fallback>
                <p:oleObj name="Слайд think-cell" r:id="rId4" imgW="395" imgH="396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Заголовок 1">
            <a:extLst>
              <a:ext uri="{FF2B5EF4-FFF2-40B4-BE49-F238E27FC236}">
                <a16:creationId xmlns:a16="http://schemas.microsoft.com/office/drawing/2014/main" id="{083066BF-5ACA-A70B-9988-F65CA097F9B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499" y="257185"/>
            <a:ext cx="10002539" cy="369332"/>
          </a:xfrm>
        </p:spPr>
        <p:txBody>
          <a:bodyPr vert="horz" wrap="square">
            <a:spAutoFit/>
          </a:bodyPr>
          <a:lstStyle>
            <a:lvl1pPr>
              <a:lnSpc>
                <a:spcPct val="100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Образец заголовка длиной до двух строк</a:t>
            </a:r>
            <a:endParaRPr lang="en-US" dirty="0"/>
          </a:p>
        </p:txBody>
      </p:sp>
      <p:sp>
        <p:nvSpPr>
          <p:cNvPr id="7" name="Номер слайда 5">
            <a:extLst>
              <a:ext uri="{FF2B5EF4-FFF2-40B4-BE49-F238E27FC236}">
                <a16:creationId xmlns:a16="http://schemas.microsoft.com/office/drawing/2014/main" id="{4762C45A-B737-2826-FECA-EE158D96301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00118" y="6548344"/>
            <a:ext cx="521970" cy="2154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1400" b="1">
                <a:solidFill>
                  <a:schemeClr val="tx2"/>
                </a:solidFill>
                <a:latin typeface="+mj-lt"/>
              </a:defRPr>
            </a:lvl1pPr>
          </a:lstStyle>
          <a:p>
            <a:fld id="{766344E1-0F76-4023-B180-E4B0CE5660A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Нижний колонтитул 4">
            <a:extLst>
              <a:ext uri="{FF2B5EF4-FFF2-40B4-BE49-F238E27FC236}">
                <a16:creationId xmlns:a16="http://schemas.microsoft.com/office/drawing/2014/main" id="{C0CC41E2-39AD-5D18-F990-08881F6764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1501" y="6548344"/>
            <a:ext cx="10260000" cy="15773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Текст 2">
            <a:extLst>
              <a:ext uri="{FF2B5EF4-FFF2-40B4-BE49-F238E27FC236}">
                <a16:creationId xmlns:a16="http://schemas.microsoft.com/office/drawing/2014/main" id="{92473D1B-4A87-4EE5-94CE-BE3DA2B6D58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1499" y="867124"/>
            <a:ext cx="11049000" cy="79098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97035764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46303A5-93EE-4A2B-B84B-0BA7E6E877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1A375B57-3A1B-42C3-B1DF-141BC432329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AEBEC795-B6A2-430A-8FB1-07EB1BD9E1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F4D5C78C-2FF0-4874-BB87-66BB8EDF75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2680BDF9-915D-45C4-AFA0-9844119E9D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F22C2B-66B5-413D-AB84-8DFE9FB86C8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6069618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3FB1D91-22A7-48E8-9C49-025ADDF592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6798705D-4DC8-4F21-9398-4F8A552B10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70E6FEA0-8A9A-4145-B902-0069D05D64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F19C2F7D-8652-4936-990B-7F35005B71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E0D8BFE7-2115-42CF-9D27-974C938275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F22C2B-66B5-413D-AB84-8DFE9FB86C8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160797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8879589-1810-43C7-8716-1E1B85CB8F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87462419-E12D-4C2F-A2EB-3AF4818D9C3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251CB2FC-87FA-4293-A344-8CEF98D8313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562A5E9B-20BA-46C2-8171-0FA62D167D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D75EC637-27FC-4886-98A3-7C69FF52CF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8779C1A1-C2E4-4D7D-A0C2-C757DD7693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F22C2B-66B5-413D-AB84-8DFE9FB86C8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8394565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29C0579-B328-4A04-94E7-952EF18A06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C8ED4872-4AC4-4BD5-A015-3C6D9593C73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2A028636-A744-4D5C-9353-61638C140FF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55819B70-315B-45D8-9E96-A59B9A71F1F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792AAC84-4F12-4CD7-9AFA-4485F5C62FB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B562DE65-2F47-4548-A284-8F80737ED7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70BAF28C-6807-4A5C-A93E-657F4F8E96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1B3D138B-EA6D-411C-B2B7-658B5AA577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F22C2B-66B5-413D-AB84-8DFE9FB86C8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215149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CCFA5F3-2ADB-4708-A855-07D6E2E250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76A94EB6-1D20-4265-8624-2C287E2DF8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E7925999-1CC1-4E06-BB47-CA9C427A81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B744126E-E4F7-4279-8D4E-EE023046AA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F22C2B-66B5-413D-AB84-8DFE9FB86C8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3846319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213EEE5B-36AF-46FD-9F8E-4D4B784699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41B79564-4C77-4ACF-AD82-33654CFD81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D569120D-B62E-4975-B3F5-B36557D01C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F22C2B-66B5-413D-AB84-8DFE9FB86C8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7145799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093F7A2-D66A-4810-9840-AC6BA6BC0B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E36CBA65-4E26-4270-8D20-A35778A7765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64546D9F-1CB8-4AFF-81D8-95907A37BEE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919D41B7-05CA-47EF-A8FA-558BF4A83B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F44B1873-5571-41FA-8A97-E71705E889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AD1413C7-DFC6-483A-BBA1-1FF7E976C4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F22C2B-66B5-413D-AB84-8DFE9FB86C8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9903321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F0A110B-D34F-4832-8382-73059E5384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0983B82A-9EB4-4AC0-85E4-D3FCBD9C78B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/>
              <a:t>Вставка рисун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F3F79EAC-319E-4900-997C-9C0036A6DE8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153F3780-743D-4951-9F7E-59A87694B2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C8A1860D-36C8-4B5B-BD53-263A3E4F28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C3D0CF66-62E1-4279-BDCA-CC2EB35956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F22C2B-66B5-413D-AB84-8DFE9FB86C8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0534428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A5E067D-51EA-4122-A9D2-2CC500F00F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85EE89C6-5007-4295-90CD-2CF2807E911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3D772555-5864-4C78-8D7C-FFCCB15CFAC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BFACBD5E-2F1D-4678-8079-C4AD2C94344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A4F0CCE6-824E-4A8C-860F-ED479F0BD29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1F22C2B-66B5-413D-AB84-8DFE9FB86C8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869079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4.png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13" Type="http://schemas.openxmlformats.org/officeDocument/2006/relationships/image" Target="../media/image13.pn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7.png"/><Relationship Id="rId12" Type="http://schemas.openxmlformats.org/officeDocument/2006/relationships/image" Target="../media/image12.png"/><Relationship Id="rId2" Type="http://schemas.openxmlformats.org/officeDocument/2006/relationships/tags" Target="../tags/tag6.xml"/><Relationship Id="rId16" Type="http://schemas.openxmlformats.org/officeDocument/2006/relationships/image" Target="../media/image16.png"/><Relationship Id="rId1" Type="http://schemas.openxmlformats.org/officeDocument/2006/relationships/vmlDrawing" Target="../drawings/vmlDrawing6.vml"/><Relationship Id="rId6" Type="http://schemas.openxmlformats.org/officeDocument/2006/relationships/image" Target="../media/image6.png"/><Relationship Id="rId11" Type="http://schemas.openxmlformats.org/officeDocument/2006/relationships/image" Target="../media/image11.png"/><Relationship Id="rId5" Type="http://schemas.openxmlformats.org/officeDocument/2006/relationships/image" Target="../media/image5.emf"/><Relationship Id="rId15" Type="http://schemas.openxmlformats.org/officeDocument/2006/relationships/image" Target="../media/image15.png"/><Relationship Id="rId10" Type="http://schemas.openxmlformats.org/officeDocument/2006/relationships/image" Target="../media/image10.png"/><Relationship Id="rId4" Type="http://schemas.openxmlformats.org/officeDocument/2006/relationships/oleObject" Target="../embeddings/oleObject6.bin"/><Relationship Id="rId9" Type="http://schemas.openxmlformats.org/officeDocument/2006/relationships/image" Target="../media/image9.png"/><Relationship Id="rId14" Type="http://schemas.openxmlformats.org/officeDocument/2006/relationships/image" Target="../media/image14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78BE20"/>
            </a:gs>
            <a:gs pos="90000">
              <a:srgbClr val="54585A"/>
            </a:gs>
            <a:gs pos="40000">
              <a:srgbClr val="ED8B00"/>
            </a:gs>
          </a:gsLst>
          <a:lin ang="162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3" name="Слайд think-cell" r:id="rId5" imgW="395" imgH="396" progId="TCLayout.ActiveDocument.1">
                  <p:embed/>
                </p:oleObj>
              </mc:Choice>
              <mc:Fallback>
                <p:oleObj name="Слайд think-cell" r:id="rId5" imgW="395" imgH="396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CB58F77-E621-461F-8285-E64A1741743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71499" y="2522816"/>
            <a:ext cx="8995021" cy="1107996"/>
          </a:xfrm>
        </p:spPr>
        <p:txBody>
          <a:bodyPr vert="horz"/>
          <a:lstStyle/>
          <a:p>
            <a:r>
              <a:rPr lang="ru-RU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Факторинг для товарных поставщиков ТС Монетка</a:t>
            </a:r>
            <a:endParaRPr lang="en-US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C784FCCB-FCEB-4BFD-84FA-C38AC8BF136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ru-RU" dirty="0">
                <a:solidFill>
                  <a:srgbClr val="B1D44B"/>
                </a:solidFill>
              </a:rPr>
              <a:t>2025</a:t>
            </a:r>
            <a:endParaRPr lang="en-US" dirty="0">
              <a:solidFill>
                <a:srgbClr val="B1D44B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27D72ECA-8A7E-4440-B454-11B1B431F989}"/>
              </a:ext>
            </a:extLst>
          </p:cNvPr>
          <p:cNvSpPr/>
          <p:nvPr/>
        </p:nvSpPr>
        <p:spPr>
          <a:xfrm rot="16200000">
            <a:off x="8518266" y="3367817"/>
            <a:ext cx="6858001" cy="122366"/>
          </a:xfrm>
          <a:prstGeom prst="rect">
            <a:avLst/>
          </a:prstGeom>
          <a:solidFill>
            <a:srgbClr val="5458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ru-RU" sz="1400" dirty="0">
              <a:solidFill>
                <a:srgbClr val="EE862C"/>
              </a:solidFill>
              <a:latin typeface="+mj-lt"/>
            </a:endParaRPr>
          </a:p>
        </p:txBody>
      </p:sp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id="{5846A7D7-66E4-4C6D-A214-50149F28F5F4}"/>
              </a:ext>
            </a:extLst>
          </p:cNvPr>
          <p:cNvSpPr/>
          <p:nvPr/>
        </p:nvSpPr>
        <p:spPr>
          <a:xfrm rot="16200000">
            <a:off x="8701816" y="3367816"/>
            <a:ext cx="6858001" cy="122366"/>
          </a:xfrm>
          <a:prstGeom prst="rect">
            <a:avLst/>
          </a:prstGeom>
          <a:solidFill>
            <a:srgbClr val="5458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ru-RU" sz="1400" dirty="0">
              <a:solidFill>
                <a:srgbClr val="EE862C"/>
              </a:solidFill>
              <a:latin typeface="+mj-lt"/>
            </a:endParaRPr>
          </a:p>
        </p:txBody>
      </p:sp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id="{0857F19C-BA29-4902-A801-432F66D8EA9B}"/>
              </a:ext>
            </a:extLst>
          </p:cNvPr>
          <p:cNvSpPr/>
          <p:nvPr/>
        </p:nvSpPr>
        <p:spPr>
          <a:xfrm rot="16200000">
            <a:off x="8331634" y="3378214"/>
            <a:ext cx="6858001" cy="116196"/>
          </a:xfrm>
          <a:prstGeom prst="rect">
            <a:avLst/>
          </a:prstGeom>
          <a:solidFill>
            <a:srgbClr val="5458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ru-RU" sz="1400" dirty="0">
              <a:solidFill>
                <a:srgbClr val="EE862C"/>
              </a:solidFill>
              <a:latin typeface="+mj-lt"/>
            </a:endParaRPr>
          </a:p>
        </p:txBody>
      </p:sp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id="{FB43445D-F140-4EA1-B502-09A967C605CE}"/>
              </a:ext>
            </a:extLst>
          </p:cNvPr>
          <p:cNvSpPr/>
          <p:nvPr/>
        </p:nvSpPr>
        <p:spPr>
          <a:xfrm rot="16200000">
            <a:off x="7965595" y="3367820"/>
            <a:ext cx="6858001" cy="122366"/>
          </a:xfrm>
          <a:prstGeom prst="rect">
            <a:avLst/>
          </a:prstGeom>
          <a:solidFill>
            <a:srgbClr val="5458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ru-RU" sz="1400" dirty="0">
              <a:solidFill>
                <a:srgbClr val="EE862C"/>
              </a:solidFill>
              <a:latin typeface="+mj-lt"/>
            </a:endParaRPr>
          </a:p>
        </p:txBody>
      </p:sp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id="{C6A77A7F-3C72-4665-928F-2A1DBC0B16FD}"/>
              </a:ext>
            </a:extLst>
          </p:cNvPr>
          <p:cNvSpPr/>
          <p:nvPr/>
        </p:nvSpPr>
        <p:spPr>
          <a:xfrm rot="16200000">
            <a:off x="7771160" y="3367817"/>
            <a:ext cx="6858001" cy="122366"/>
          </a:xfrm>
          <a:prstGeom prst="rect">
            <a:avLst/>
          </a:prstGeom>
          <a:solidFill>
            <a:srgbClr val="5458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ru-RU" sz="1400" dirty="0">
              <a:solidFill>
                <a:srgbClr val="EE862C"/>
              </a:solidFill>
              <a:latin typeface="+mj-lt"/>
            </a:endParaRP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B306DF9C-9ADA-4BED-8665-B945A43F6D3F}"/>
              </a:ext>
            </a:extLst>
          </p:cNvPr>
          <p:cNvSpPr/>
          <p:nvPr/>
        </p:nvSpPr>
        <p:spPr>
          <a:xfrm rot="16200000">
            <a:off x="7579083" y="3375132"/>
            <a:ext cx="6858001" cy="122366"/>
          </a:xfrm>
          <a:prstGeom prst="rect">
            <a:avLst/>
          </a:prstGeom>
          <a:solidFill>
            <a:srgbClr val="5458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ru-RU" sz="1400" dirty="0">
              <a:solidFill>
                <a:srgbClr val="EE862C"/>
              </a:solidFill>
              <a:latin typeface="+mj-lt"/>
            </a:endParaRP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C692564D-CB21-4F2A-AF85-99143CFE9156}"/>
              </a:ext>
            </a:extLst>
          </p:cNvPr>
          <p:cNvSpPr/>
          <p:nvPr/>
        </p:nvSpPr>
        <p:spPr>
          <a:xfrm rot="16200000">
            <a:off x="8150654" y="3378702"/>
            <a:ext cx="6858001" cy="122366"/>
          </a:xfrm>
          <a:prstGeom prst="rect">
            <a:avLst/>
          </a:prstGeom>
          <a:solidFill>
            <a:srgbClr val="5458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ru-RU" sz="1400" dirty="0">
              <a:solidFill>
                <a:srgbClr val="EE862C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78734373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6" name="Слайд think-cell" r:id="rId4" imgW="395" imgH="396" progId="TCLayout.ActiveDocument.1">
                  <p:embed/>
                </p:oleObj>
              </mc:Choice>
              <mc:Fallback>
                <p:oleObj name="Слайд think-cell" r:id="rId4" imgW="395" imgH="396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6" name="Прямоугольник 115">
            <a:extLst>
              <a:ext uri="{FF2B5EF4-FFF2-40B4-BE49-F238E27FC236}">
                <a16:creationId xmlns:a16="http://schemas.microsoft.com/office/drawing/2014/main" id="{E4233C3D-08CD-4DF9-9154-F931AD2F2E89}"/>
              </a:ext>
            </a:extLst>
          </p:cNvPr>
          <p:cNvSpPr/>
          <p:nvPr/>
        </p:nvSpPr>
        <p:spPr>
          <a:xfrm rot="16200000">
            <a:off x="8518266" y="3367817"/>
            <a:ext cx="6858001" cy="122366"/>
          </a:xfrm>
          <a:prstGeom prst="rect">
            <a:avLst/>
          </a:prstGeom>
          <a:gradFill flip="none" rotWithShape="1">
            <a:gsLst>
              <a:gs pos="0">
                <a:srgbClr val="78BE20"/>
              </a:gs>
              <a:gs pos="40000">
                <a:srgbClr val="ED8B00"/>
              </a:gs>
              <a:gs pos="91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ru-RU" sz="1400" dirty="0">
              <a:solidFill>
                <a:srgbClr val="EE862C"/>
              </a:solidFill>
              <a:latin typeface="+mj-lt"/>
            </a:endParaRPr>
          </a:p>
        </p:txBody>
      </p:sp>
      <p:sp>
        <p:nvSpPr>
          <p:cNvPr id="117" name="Прямоугольник 116">
            <a:extLst>
              <a:ext uri="{FF2B5EF4-FFF2-40B4-BE49-F238E27FC236}">
                <a16:creationId xmlns:a16="http://schemas.microsoft.com/office/drawing/2014/main" id="{E547F1FC-B45F-432A-A96A-3A8BE8E3F436}"/>
              </a:ext>
            </a:extLst>
          </p:cNvPr>
          <p:cNvSpPr/>
          <p:nvPr/>
        </p:nvSpPr>
        <p:spPr>
          <a:xfrm rot="16200000">
            <a:off x="8701816" y="3367816"/>
            <a:ext cx="6858001" cy="122366"/>
          </a:xfrm>
          <a:prstGeom prst="rect">
            <a:avLst/>
          </a:prstGeom>
          <a:gradFill flip="none" rotWithShape="1">
            <a:gsLst>
              <a:gs pos="0">
                <a:srgbClr val="78BE20"/>
              </a:gs>
              <a:gs pos="40000">
                <a:srgbClr val="ED8B00"/>
              </a:gs>
              <a:gs pos="91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ru-RU" sz="1400" dirty="0">
              <a:solidFill>
                <a:srgbClr val="EE862C"/>
              </a:solidFill>
              <a:latin typeface="+mj-lt"/>
            </a:endParaRPr>
          </a:p>
        </p:txBody>
      </p:sp>
      <p:sp>
        <p:nvSpPr>
          <p:cNvPr id="118" name="Прямоугольник 117">
            <a:extLst>
              <a:ext uri="{FF2B5EF4-FFF2-40B4-BE49-F238E27FC236}">
                <a16:creationId xmlns:a16="http://schemas.microsoft.com/office/drawing/2014/main" id="{A3FB12AA-350A-4F7D-AECF-9742E4021048}"/>
              </a:ext>
            </a:extLst>
          </p:cNvPr>
          <p:cNvSpPr/>
          <p:nvPr/>
        </p:nvSpPr>
        <p:spPr>
          <a:xfrm rot="16200000">
            <a:off x="8331634" y="3378214"/>
            <a:ext cx="6858001" cy="116196"/>
          </a:xfrm>
          <a:prstGeom prst="rect">
            <a:avLst/>
          </a:prstGeom>
          <a:gradFill flip="none" rotWithShape="1">
            <a:gsLst>
              <a:gs pos="0">
                <a:srgbClr val="78BE20"/>
              </a:gs>
              <a:gs pos="40000">
                <a:srgbClr val="ED8B00"/>
              </a:gs>
              <a:gs pos="91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ru-RU" sz="1400" dirty="0">
              <a:solidFill>
                <a:srgbClr val="EE862C"/>
              </a:solidFill>
              <a:latin typeface="+mj-lt"/>
            </a:endParaRPr>
          </a:p>
        </p:txBody>
      </p:sp>
      <p:sp>
        <p:nvSpPr>
          <p:cNvPr id="119" name="Прямоугольник 118">
            <a:extLst>
              <a:ext uri="{FF2B5EF4-FFF2-40B4-BE49-F238E27FC236}">
                <a16:creationId xmlns:a16="http://schemas.microsoft.com/office/drawing/2014/main" id="{52BD11C8-9FE9-4582-81B2-4D35080FE850}"/>
              </a:ext>
            </a:extLst>
          </p:cNvPr>
          <p:cNvSpPr/>
          <p:nvPr/>
        </p:nvSpPr>
        <p:spPr>
          <a:xfrm rot="16200000">
            <a:off x="7965595" y="3367820"/>
            <a:ext cx="6858001" cy="122366"/>
          </a:xfrm>
          <a:prstGeom prst="rect">
            <a:avLst/>
          </a:prstGeom>
          <a:gradFill flip="none" rotWithShape="1">
            <a:gsLst>
              <a:gs pos="0">
                <a:srgbClr val="78BE20"/>
              </a:gs>
              <a:gs pos="40000">
                <a:srgbClr val="ED8B00"/>
              </a:gs>
              <a:gs pos="91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ru-RU" sz="1400" dirty="0">
              <a:solidFill>
                <a:srgbClr val="EE862C"/>
              </a:solidFill>
              <a:latin typeface="+mj-lt"/>
            </a:endParaRPr>
          </a:p>
        </p:txBody>
      </p:sp>
      <p:sp>
        <p:nvSpPr>
          <p:cNvPr id="122" name="Прямоугольник 121">
            <a:extLst>
              <a:ext uri="{FF2B5EF4-FFF2-40B4-BE49-F238E27FC236}">
                <a16:creationId xmlns:a16="http://schemas.microsoft.com/office/drawing/2014/main" id="{E529B8C4-4141-444E-855B-48B73288A02E}"/>
              </a:ext>
            </a:extLst>
          </p:cNvPr>
          <p:cNvSpPr/>
          <p:nvPr/>
        </p:nvSpPr>
        <p:spPr>
          <a:xfrm rot="16200000">
            <a:off x="7771160" y="3367817"/>
            <a:ext cx="6858001" cy="122366"/>
          </a:xfrm>
          <a:prstGeom prst="rect">
            <a:avLst/>
          </a:prstGeom>
          <a:gradFill flip="none" rotWithShape="1">
            <a:gsLst>
              <a:gs pos="0">
                <a:srgbClr val="78BE20"/>
              </a:gs>
              <a:gs pos="40000">
                <a:srgbClr val="ED8B00"/>
              </a:gs>
              <a:gs pos="91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ru-RU" sz="1400" dirty="0">
              <a:solidFill>
                <a:srgbClr val="EE862C"/>
              </a:solidFill>
              <a:latin typeface="+mj-lt"/>
            </a:endParaRPr>
          </a:p>
        </p:txBody>
      </p:sp>
      <p:sp>
        <p:nvSpPr>
          <p:cNvPr id="123" name="Прямоугольник 122">
            <a:extLst>
              <a:ext uri="{FF2B5EF4-FFF2-40B4-BE49-F238E27FC236}">
                <a16:creationId xmlns:a16="http://schemas.microsoft.com/office/drawing/2014/main" id="{3362260B-A353-4111-BD59-B48ECD103ABA}"/>
              </a:ext>
            </a:extLst>
          </p:cNvPr>
          <p:cNvSpPr/>
          <p:nvPr/>
        </p:nvSpPr>
        <p:spPr>
          <a:xfrm rot="16200000">
            <a:off x="7579083" y="3375132"/>
            <a:ext cx="6858001" cy="122366"/>
          </a:xfrm>
          <a:prstGeom prst="rect">
            <a:avLst/>
          </a:prstGeom>
          <a:gradFill flip="none" rotWithShape="1">
            <a:gsLst>
              <a:gs pos="0">
                <a:srgbClr val="78BE20"/>
              </a:gs>
              <a:gs pos="40000">
                <a:srgbClr val="ED8B00"/>
              </a:gs>
              <a:gs pos="91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ru-RU" sz="1400" dirty="0">
              <a:solidFill>
                <a:srgbClr val="EE862C"/>
              </a:solidFill>
              <a:latin typeface="+mj-lt"/>
            </a:endParaRP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AD30C0E9-D8B4-4765-8D59-C8F07D8EA6F5}"/>
              </a:ext>
            </a:extLst>
          </p:cNvPr>
          <p:cNvSpPr/>
          <p:nvPr/>
        </p:nvSpPr>
        <p:spPr>
          <a:xfrm rot="16200000">
            <a:off x="8150655" y="3378702"/>
            <a:ext cx="6858001" cy="122366"/>
          </a:xfrm>
          <a:prstGeom prst="rect">
            <a:avLst/>
          </a:prstGeom>
          <a:gradFill flip="none" rotWithShape="1">
            <a:gsLst>
              <a:gs pos="0">
                <a:srgbClr val="78BE20"/>
              </a:gs>
              <a:gs pos="40000">
                <a:srgbClr val="ED8B00"/>
              </a:gs>
              <a:gs pos="91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ru-RU" sz="1400" dirty="0">
              <a:solidFill>
                <a:srgbClr val="EE862C"/>
              </a:solidFill>
              <a:latin typeface="+mj-lt"/>
            </a:endParaRPr>
          </a:p>
        </p:txBody>
      </p:sp>
      <p:cxnSp>
        <p:nvCxnSpPr>
          <p:cNvPr id="15" name="Прямая со стрелкой 14">
            <a:extLst>
              <a:ext uri="{FF2B5EF4-FFF2-40B4-BE49-F238E27FC236}">
                <a16:creationId xmlns:a16="http://schemas.microsoft.com/office/drawing/2014/main" id="{F0EF8EDC-41CF-4A17-983E-DF59222EA654}"/>
              </a:ext>
            </a:extLst>
          </p:cNvPr>
          <p:cNvCxnSpPr/>
          <p:nvPr/>
        </p:nvCxnSpPr>
        <p:spPr>
          <a:xfrm>
            <a:off x="1501717" y="1340896"/>
            <a:ext cx="1564212" cy="0"/>
          </a:xfrm>
          <a:prstGeom prst="straightConnector1">
            <a:avLst/>
          </a:prstGeom>
          <a:ln w="19050">
            <a:solidFill>
              <a:srgbClr val="0087CD"/>
            </a:solidFill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Соединительная линия уступом 65">
            <a:extLst>
              <a:ext uri="{FF2B5EF4-FFF2-40B4-BE49-F238E27FC236}">
                <a16:creationId xmlns:a16="http://schemas.microsoft.com/office/drawing/2014/main" id="{C0E86EA3-EBE5-4717-82FA-E8A571EC5BD7}"/>
              </a:ext>
            </a:extLst>
          </p:cNvPr>
          <p:cNvCxnSpPr/>
          <p:nvPr/>
        </p:nvCxnSpPr>
        <p:spPr>
          <a:xfrm rot="16200000" flipH="1">
            <a:off x="1045247" y="1896490"/>
            <a:ext cx="1772796" cy="859856"/>
          </a:xfrm>
          <a:prstGeom prst="bentConnector3">
            <a:avLst>
              <a:gd name="adj1" fmla="val -366"/>
            </a:avLst>
          </a:prstGeom>
          <a:ln w="19050">
            <a:solidFill>
              <a:srgbClr val="0087CD"/>
            </a:solidFill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Соединительная линия уступом 68">
            <a:extLst>
              <a:ext uri="{FF2B5EF4-FFF2-40B4-BE49-F238E27FC236}">
                <a16:creationId xmlns:a16="http://schemas.microsoft.com/office/drawing/2014/main" id="{8A31A483-0812-4C0B-BB5B-1BA575452DFA}"/>
              </a:ext>
            </a:extLst>
          </p:cNvPr>
          <p:cNvCxnSpPr/>
          <p:nvPr/>
        </p:nvCxnSpPr>
        <p:spPr>
          <a:xfrm rot="5400000">
            <a:off x="3026993" y="2436103"/>
            <a:ext cx="1766043" cy="849072"/>
          </a:xfrm>
          <a:prstGeom prst="bentConnector3">
            <a:avLst>
              <a:gd name="adj1" fmla="val 99839"/>
            </a:avLst>
          </a:prstGeom>
          <a:ln w="19050">
            <a:solidFill>
              <a:srgbClr val="0087CD"/>
            </a:solidFill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Соединительная линия уступом 79">
            <a:extLst>
              <a:ext uri="{FF2B5EF4-FFF2-40B4-BE49-F238E27FC236}">
                <a16:creationId xmlns:a16="http://schemas.microsoft.com/office/drawing/2014/main" id="{DF23C21F-9B50-4F5D-9315-658259B23BD8}"/>
              </a:ext>
            </a:extLst>
          </p:cNvPr>
          <p:cNvCxnSpPr/>
          <p:nvPr/>
        </p:nvCxnSpPr>
        <p:spPr>
          <a:xfrm rot="16200000" flipV="1">
            <a:off x="309897" y="2512265"/>
            <a:ext cx="1542973" cy="473679"/>
          </a:xfrm>
          <a:prstGeom prst="bentConnector3">
            <a:avLst>
              <a:gd name="adj1" fmla="val -199"/>
            </a:avLst>
          </a:prstGeom>
          <a:ln w="19050">
            <a:solidFill>
              <a:srgbClr val="0087CD"/>
            </a:solidFill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Соединительная линия уступом 84">
            <a:extLst>
              <a:ext uri="{FF2B5EF4-FFF2-40B4-BE49-F238E27FC236}">
                <a16:creationId xmlns:a16="http://schemas.microsoft.com/office/drawing/2014/main" id="{EF857A95-7A78-440A-8986-79053D3A344F}"/>
              </a:ext>
            </a:extLst>
          </p:cNvPr>
          <p:cNvCxnSpPr/>
          <p:nvPr/>
        </p:nvCxnSpPr>
        <p:spPr>
          <a:xfrm rot="16200000" flipH="1">
            <a:off x="135305" y="2564255"/>
            <a:ext cx="1732880" cy="632955"/>
          </a:xfrm>
          <a:prstGeom prst="bentConnector3">
            <a:avLst>
              <a:gd name="adj1" fmla="val 99918"/>
            </a:avLst>
          </a:prstGeom>
          <a:ln w="19050">
            <a:solidFill>
              <a:srgbClr val="0087CD"/>
            </a:solidFill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>
            <a:extLst>
              <a:ext uri="{FF2B5EF4-FFF2-40B4-BE49-F238E27FC236}">
                <a16:creationId xmlns:a16="http://schemas.microsoft.com/office/drawing/2014/main" id="{77605E37-D87D-4767-A613-14759265CD8F}"/>
              </a:ext>
            </a:extLst>
          </p:cNvPr>
          <p:cNvSpPr txBox="1"/>
          <p:nvPr/>
        </p:nvSpPr>
        <p:spPr>
          <a:xfrm>
            <a:off x="3782449" y="1665178"/>
            <a:ext cx="104467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dirty="0">
                <a:latin typeface="Century Gothic" panose="020B0502020202020204" pitchFamily="34" charset="0"/>
              </a:rPr>
              <a:t>ПОКУПАТЕЛЬ</a:t>
            </a:r>
            <a:endParaRPr lang="ru-RU" sz="1000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21CF3BF-EA76-433C-848F-99BE6E0D206A}"/>
              </a:ext>
            </a:extLst>
          </p:cNvPr>
          <p:cNvSpPr txBox="1"/>
          <p:nvPr/>
        </p:nvSpPr>
        <p:spPr>
          <a:xfrm>
            <a:off x="2428903" y="1995242"/>
            <a:ext cx="92839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>
                <a:solidFill>
                  <a:srgbClr val="0087CD"/>
                </a:solidFill>
                <a:latin typeface="Century Gothic" panose="020B0502020202020204" pitchFamily="34" charset="0"/>
              </a:rPr>
              <a:t>2.</a:t>
            </a:r>
            <a:r>
              <a:rPr lang="ru-RU" sz="1200" dirty="0">
                <a:solidFill>
                  <a:srgbClr val="000000"/>
                </a:solidFill>
                <a:latin typeface="Century Gothic" panose="020B0502020202020204" pitchFamily="34" charset="0"/>
              </a:rPr>
              <a:t> </a:t>
            </a:r>
            <a:r>
              <a:rPr lang="ru-RU" sz="1000" dirty="0">
                <a:solidFill>
                  <a:srgbClr val="000000"/>
                </a:solidFill>
                <a:latin typeface="Century Gothic" panose="020B0502020202020204" pitchFamily="34" charset="0"/>
              </a:rPr>
              <a:t>Уступка денежного требования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B27AE13A-32E4-4A7A-96A8-81BAFBF7E717}"/>
              </a:ext>
            </a:extLst>
          </p:cNvPr>
          <p:cNvSpPr txBox="1"/>
          <p:nvPr/>
        </p:nvSpPr>
        <p:spPr>
          <a:xfrm>
            <a:off x="920077" y="1987142"/>
            <a:ext cx="1401381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>
                <a:solidFill>
                  <a:srgbClr val="0087CD"/>
                </a:solidFill>
                <a:latin typeface="Century Gothic" panose="020B0502020202020204" pitchFamily="34" charset="0"/>
              </a:rPr>
              <a:t>3.</a:t>
            </a:r>
            <a:endParaRPr lang="ru-RU" sz="1200" dirty="0">
              <a:solidFill>
                <a:srgbClr val="0087CD"/>
              </a:solidFill>
              <a:latin typeface="Century Gothic" panose="020B0502020202020204" pitchFamily="34" charset="0"/>
            </a:endParaRPr>
          </a:p>
          <a:p>
            <a:r>
              <a:rPr lang="ru-RU" sz="1000" dirty="0">
                <a:solidFill>
                  <a:srgbClr val="000000"/>
                </a:solidFill>
                <a:latin typeface="Century Gothic" panose="020B0502020202020204" pitchFamily="34" charset="0"/>
              </a:rPr>
              <a:t>Выплата финансирования </a:t>
            </a:r>
            <a:r>
              <a:rPr lang="ru-RU" sz="1000" b="1" dirty="0">
                <a:solidFill>
                  <a:srgbClr val="00B050"/>
                </a:solidFill>
                <a:latin typeface="Century Gothic" panose="020B0502020202020204" pitchFamily="34" charset="0"/>
              </a:rPr>
              <a:t>до 100%</a:t>
            </a:r>
            <a:r>
              <a:rPr lang="ru-RU" sz="1000" dirty="0">
                <a:solidFill>
                  <a:srgbClr val="000000"/>
                </a:solidFill>
                <a:latin typeface="Century Gothic" panose="020B0502020202020204" pitchFamily="34" charset="0"/>
              </a:rPr>
              <a:t> от стоимости поставки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F096F1ED-217A-4918-AE73-8FDDBA750172}"/>
              </a:ext>
            </a:extLst>
          </p:cNvPr>
          <p:cNvSpPr txBox="1"/>
          <p:nvPr/>
        </p:nvSpPr>
        <p:spPr>
          <a:xfrm>
            <a:off x="3487343" y="3804323"/>
            <a:ext cx="1577732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>
                <a:solidFill>
                  <a:srgbClr val="0087CD"/>
                </a:solidFill>
                <a:latin typeface="Century Gothic" panose="020B0502020202020204" pitchFamily="34" charset="0"/>
              </a:rPr>
              <a:t>4.</a:t>
            </a:r>
            <a:r>
              <a:rPr lang="ru-RU" sz="1200" dirty="0">
                <a:solidFill>
                  <a:srgbClr val="000000"/>
                </a:solidFill>
                <a:latin typeface="Century Gothic" panose="020B0502020202020204" pitchFamily="34" charset="0"/>
              </a:rPr>
              <a:t> </a:t>
            </a:r>
            <a:r>
              <a:rPr lang="ru-RU" sz="1000" dirty="0">
                <a:solidFill>
                  <a:srgbClr val="000000"/>
                </a:solidFill>
                <a:latin typeface="Century Gothic" panose="020B0502020202020204" pitchFamily="34" charset="0"/>
              </a:rPr>
              <a:t>Оплата с дополнительной отсрочкой к договору поставки (10-40 дней)</a:t>
            </a:r>
            <a:endParaRPr lang="ru-RU" sz="1000" b="1" dirty="0">
              <a:solidFill>
                <a:srgbClr val="00B050"/>
              </a:solidFill>
              <a:latin typeface="Century Gothic" panose="020B0502020202020204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FFC3B6BC-1354-4041-AEE2-BAA9BE6BC263}"/>
              </a:ext>
            </a:extLst>
          </p:cNvPr>
          <p:cNvSpPr txBox="1"/>
          <p:nvPr/>
        </p:nvSpPr>
        <p:spPr>
          <a:xfrm>
            <a:off x="5369440" y="1266985"/>
            <a:ext cx="2619496" cy="2862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 sz="1600" b="1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ru-RU" sz="1400" dirty="0">
                <a:solidFill>
                  <a:srgbClr val="0087CD"/>
                </a:solidFill>
              </a:rPr>
              <a:t>СХЕМА ВЗАИМОДЕЙСТВИЯ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3A10510-3B81-42FB-B490-89C5849BC38E}"/>
              </a:ext>
            </a:extLst>
          </p:cNvPr>
          <p:cNvSpPr txBox="1"/>
          <p:nvPr/>
        </p:nvSpPr>
        <p:spPr>
          <a:xfrm>
            <a:off x="5369439" y="1578506"/>
            <a:ext cx="3593585" cy="28469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 sz="1600" b="1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marL="216000" indent="-4572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dirty="0">
                <a:solidFill>
                  <a:srgbClr val="0087CD"/>
                </a:solidFill>
              </a:rPr>
              <a:t>1.</a:t>
            </a:r>
            <a:r>
              <a:rPr lang="ru-RU" sz="1100" dirty="0">
                <a:solidFill>
                  <a:srgbClr val="0087CD"/>
                </a:solidFill>
              </a:rPr>
              <a:t> </a:t>
            </a:r>
            <a:r>
              <a:rPr lang="ru-RU" sz="1100" b="0" dirty="0">
                <a:solidFill>
                  <a:schemeClr val="tx1"/>
                </a:solidFill>
              </a:rPr>
              <a:t>Отгрузка товара на условиях отсрочки платежа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ru-RU" sz="1100" b="0" dirty="0">
              <a:solidFill>
                <a:schemeClr val="tx1"/>
              </a:solidFill>
            </a:endParaRPr>
          </a:p>
          <a:p>
            <a:pPr marL="216000" indent="-4572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dirty="0">
                <a:solidFill>
                  <a:srgbClr val="0087CD"/>
                </a:solidFill>
              </a:rPr>
              <a:t>2.</a:t>
            </a:r>
            <a:r>
              <a:rPr lang="ru-RU" sz="1100" b="0" dirty="0">
                <a:solidFill>
                  <a:schemeClr val="tx1"/>
                </a:solidFill>
              </a:rPr>
              <a:t> Поставщик уступает денежные требования Фактору</a:t>
            </a:r>
          </a:p>
          <a:p>
            <a:pPr marL="216000" indent="-4572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ru-RU" sz="1100" b="0" dirty="0">
              <a:solidFill>
                <a:schemeClr val="tx1"/>
              </a:solidFill>
            </a:endParaRPr>
          </a:p>
          <a:p>
            <a:pPr marL="216000" indent="-4572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dirty="0">
                <a:solidFill>
                  <a:srgbClr val="0087CD"/>
                </a:solidFill>
              </a:rPr>
              <a:t>3.</a:t>
            </a:r>
            <a:r>
              <a:rPr lang="ru-RU" sz="1100" b="0" dirty="0">
                <a:solidFill>
                  <a:schemeClr val="tx1"/>
                </a:solidFill>
              </a:rPr>
              <a:t> Фактор финансирует Поставщика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ru-RU" sz="1100" b="0" dirty="0">
              <a:solidFill>
                <a:schemeClr val="tx1"/>
              </a:solidFill>
            </a:endParaRPr>
          </a:p>
          <a:p>
            <a:pPr marL="216000" indent="-4572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dirty="0">
                <a:solidFill>
                  <a:srgbClr val="0087CD"/>
                </a:solidFill>
              </a:rPr>
              <a:t>4.</a:t>
            </a:r>
            <a:r>
              <a:rPr lang="ru-RU" sz="1100" b="0" dirty="0">
                <a:solidFill>
                  <a:schemeClr val="tx1"/>
                </a:solidFill>
              </a:rPr>
              <a:t> Покупатель оплачивает поставку в полном объеме Фактору с учетом дополнительной отсрочки. </a:t>
            </a:r>
          </a:p>
          <a:p>
            <a:pPr marL="216000" indent="-4572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dirty="0">
                <a:solidFill>
                  <a:srgbClr val="0087CD"/>
                </a:solidFill>
              </a:rPr>
              <a:t>5.</a:t>
            </a:r>
            <a:r>
              <a:rPr lang="ru-RU" sz="1100" b="0" dirty="0">
                <a:solidFill>
                  <a:schemeClr val="tx1"/>
                </a:solidFill>
              </a:rPr>
              <a:t> Поставщик оплачивает комиссию за использованную отсрочку и период ожидания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37BE1397-D9AC-4049-9220-DC9189121353}"/>
              </a:ext>
            </a:extLst>
          </p:cNvPr>
          <p:cNvSpPr txBox="1"/>
          <p:nvPr/>
        </p:nvSpPr>
        <p:spPr>
          <a:xfrm>
            <a:off x="2935389" y="5078073"/>
            <a:ext cx="1810224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 sz="1600" b="1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400" dirty="0">
                <a:solidFill>
                  <a:srgbClr val="0087CD"/>
                </a:solidFill>
              </a:rPr>
              <a:t>ОБЕСПЕЧЕНИЕ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100" b="0" dirty="0">
                <a:solidFill>
                  <a:schemeClr val="tx1"/>
                </a:solidFill>
              </a:rPr>
              <a:t>без залогов по сделке</a:t>
            </a:r>
          </a:p>
        </p:txBody>
      </p:sp>
      <p:grpSp>
        <p:nvGrpSpPr>
          <p:cNvPr id="27" name="Group 4">
            <a:extLst>
              <a:ext uri="{FF2B5EF4-FFF2-40B4-BE49-F238E27FC236}">
                <a16:creationId xmlns:a16="http://schemas.microsoft.com/office/drawing/2014/main" id="{BC22AD65-A48D-4D93-9E82-6CB37DEF811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568666" y="5142439"/>
            <a:ext cx="327900" cy="310221"/>
            <a:chOff x="-4568" y="135"/>
            <a:chExt cx="4025" cy="3808"/>
          </a:xfrm>
          <a:solidFill>
            <a:schemeClr val="bg2"/>
          </a:solidFill>
        </p:grpSpPr>
        <p:sp>
          <p:nvSpPr>
            <p:cNvPr id="28" name="Freeform 5">
              <a:extLst>
                <a:ext uri="{FF2B5EF4-FFF2-40B4-BE49-F238E27FC236}">
                  <a16:creationId xmlns:a16="http://schemas.microsoft.com/office/drawing/2014/main" id="{C4FBBE96-961E-4C27-ADFA-E7D60C356BCC}"/>
                </a:ext>
              </a:extLst>
            </p:cNvPr>
            <p:cNvSpPr>
              <a:spLocks/>
            </p:cNvSpPr>
            <p:nvPr/>
          </p:nvSpPr>
          <p:spPr bwMode="auto">
            <a:xfrm>
              <a:off x="-4568" y="263"/>
              <a:ext cx="3679" cy="3680"/>
            </a:xfrm>
            <a:custGeom>
              <a:avLst/>
              <a:gdLst>
                <a:gd name="T0" fmla="*/ 1508 w 1555"/>
                <a:gd name="T1" fmla="*/ 386 h 1555"/>
                <a:gd name="T2" fmla="*/ 1460 w 1555"/>
                <a:gd name="T3" fmla="*/ 433 h 1555"/>
                <a:gd name="T4" fmla="*/ 1460 w 1555"/>
                <a:gd name="T5" fmla="*/ 1296 h 1555"/>
                <a:gd name="T6" fmla="*/ 1295 w 1555"/>
                <a:gd name="T7" fmla="*/ 1461 h 1555"/>
                <a:gd name="T8" fmla="*/ 260 w 1555"/>
                <a:gd name="T9" fmla="*/ 1461 h 1555"/>
                <a:gd name="T10" fmla="*/ 94 w 1555"/>
                <a:gd name="T11" fmla="*/ 1296 h 1555"/>
                <a:gd name="T12" fmla="*/ 94 w 1555"/>
                <a:gd name="T13" fmla="*/ 260 h 1555"/>
                <a:gd name="T14" fmla="*/ 260 w 1555"/>
                <a:gd name="T15" fmla="*/ 95 h 1555"/>
                <a:gd name="T16" fmla="*/ 1295 w 1555"/>
                <a:gd name="T17" fmla="*/ 95 h 1555"/>
                <a:gd name="T18" fmla="*/ 1342 w 1555"/>
                <a:gd name="T19" fmla="*/ 48 h 1555"/>
                <a:gd name="T20" fmla="*/ 1295 w 1555"/>
                <a:gd name="T21" fmla="*/ 0 h 1555"/>
                <a:gd name="T22" fmla="*/ 260 w 1555"/>
                <a:gd name="T23" fmla="*/ 0 h 1555"/>
                <a:gd name="T24" fmla="*/ 0 w 1555"/>
                <a:gd name="T25" fmla="*/ 260 h 1555"/>
                <a:gd name="T26" fmla="*/ 0 w 1555"/>
                <a:gd name="T27" fmla="*/ 1296 h 1555"/>
                <a:gd name="T28" fmla="*/ 260 w 1555"/>
                <a:gd name="T29" fmla="*/ 1555 h 1555"/>
                <a:gd name="T30" fmla="*/ 1295 w 1555"/>
                <a:gd name="T31" fmla="*/ 1555 h 1555"/>
                <a:gd name="T32" fmla="*/ 1555 w 1555"/>
                <a:gd name="T33" fmla="*/ 1296 h 1555"/>
                <a:gd name="T34" fmla="*/ 1555 w 1555"/>
                <a:gd name="T35" fmla="*/ 433 h 1555"/>
                <a:gd name="T36" fmla="*/ 1508 w 1555"/>
                <a:gd name="T37" fmla="*/ 386 h 15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555" h="1555">
                  <a:moveTo>
                    <a:pt x="1508" y="386"/>
                  </a:moveTo>
                  <a:cubicBezTo>
                    <a:pt x="1482" y="386"/>
                    <a:pt x="1460" y="407"/>
                    <a:pt x="1460" y="433"/>
                  </a:cubicBezTo>
                  <a:cubicBezTo>
                    <a:pt x="1460" y="1296"/>
                    <a:pt x="1460" y="1296"/>
                    <a:pt x="1460" y="1296"/>
                  </a:cubicBezTo>
                  <a:cubicBezTo>
                    <a:pt x="1460" y="1387"/>
                    <a:pt x="1386" y="1461"/>
                    <a:pt x="1295" y="1461"/>
                  </a:cubicBezTo>
                  <a:cubicBezTo>
                    <a:pt x="260" y="1461"/>
                    <a:pt x="260" y="1461"/>
                    <a:pt x="260" y="1461"/>
                  </a:cubicBezTo>
                  <a:cubicBezTo>
                    <a:pt x="168" y="1461"/>
                    <a:pt x="94" y="1387"/>
                    <a:pt x="94" y="1296"/>
                  </a:cubicBezTo>
                  <a:cubicBezTo>
                    <a:pt x="94" y="260"/>
                    <a:pt x="94" y="260"/>
                    <a:pt x="94" y="260"/>
                  </a:cubicBezTo>
                  <a:cubicBezTo>
                    <a:pt x="94" y="169"/>
                    <a:pt x="168" y="95"/>
                    <a:pt x="260" y="95"/>
                  </a:cubicBezTo>
                  <a:cubicBezTo>
                    <a:pt x="1295" y="95"/>
                    <a:pt x="1295" y="95"/>
                    <a:pt x="1295" y="95"/>
                  </a:cubicBezTo>
                  <a:cubicBezTo>
                    <a:pt x="1321" y="95"/>
                    <a:pt x="1342" y="74"/>
                    <a:pt x="1342" y="48"/>
                  </a:cubicBezTo>
                  <a:cubicBezTo>
                    <a:pt x="1342" y="21"/>
                    <a:pt x="1321" y="0"/>
                    <a:pt x="1295" y="0"/>
                  </a:cubicBezTo>
                  <a:cubicBezTo>
                    <a:pt x="260" y="0"/>
                    <a:pt x="260" y="0"/>
                    <a:pt x="260" y="0"/>
                  </a:cubicBezTo>
                  <a:cubicBezTo>
                    <a:pt x="116" y="0"/>
                    <a:pt x="0" y="117"/>
                    <a:pt x="0" y="260"/>
                  </a:cubicBezTo>
                  <a:cubicBezTo>
                    <a:pt x="0" y="1296"/>
                    <a:pt x="0" y="1296"/>
                    <a:pt x="0" y="1296"/>
                  </a:cubicBezTo>
                  <a:cubicBezTo>
                    <a:pt x="0" y="1439"/>
                    <a:pt x="116" y="1555"/>
                    <a:pt x="260" y="1555"/>
                  </a:cubicBezTo>
                  <a:cubicBezTo>
                    <a:pt x="1295" y="1555"/>
                    <a:pt x="1295" y="1555"/>
                    <a:pt x="1295" y="1555"/>
                  </a:cubicBezTo>
                  <a:cubicBezTo>
                    <a:pt x="1438" y="1555"/>
                    <a:pt x="1555" y="1439"/>
                    <a:pt x="1555" y="1296"/>
                  </a:cubicBezTo>
                  <a:cubicBezTo>
                    <a:pt x="1555" y="433"/>
                    <a:pt x="1555" y="433"/>
                    <a:pt x="1555" y="433"/>
                  </a:cubicBezTo>
                  <a:cubicBezTo>
                    <a:pt x="1555" y="407"/>
                    <a:pt x="1534" y="386"/>
                    <a:pt x="1508" y="386"/>
                  </a:cubicBezTo>
                  <a:close/>
                </a:path>
              </a:pathLst>
            </a:custGeom>
            <a:grpFill/>
            <a:ln w="19050">
              <a:solidFill>
                <a:srgbClr val="0087CD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9" name="Freeform 6">
              <a:extLst>
                <a:ext uri="{FF2B5EF4-FFF2-40B4-BE49-F238E27FC236}">
                  <a16:creationId xmlns:a16="http://schemas.microsoft.com/office/drawing/2014/main" id="{E9DE1E6D-AD5C-465B-B58F-09B3E1309EDD}"/>
                </a:ext>
              </a:extLst>
            </p:cNvPr>
            <p:cNvSpPr>
              <a:spLocks/>
            </p:cNvSpPr>
            <p:nvPr/>
          </p:nvSpPr>
          <p:spPr bwMode="auto">
            <a:xfrm>
              <a:off x="-3754" y="135"/>
              <a:ext cx="3211" cy="2558"/>
            </a:xfrm>
            <a:custGeom>
              <a:avLst/>
              <a:gdLst>
                <a:gd name="T0" fmla="*/ 1338 w 1357"/>
                <a:gd name="T1" fmla="*/ 18 h 1081"/>
                <a:gd name="T2" fmla="*/ 1272 w 1357"/>
                <a:gd name="T3" fmla="*/ 18 h 1081"/>
                <a:gd name="T4" fmla="*/ 323 w 1357"/>
                <a:gd name="T5" fmla="*/ 967 h 1081"/>
                <a:gd name="T6" fmla="*/ 85 w 1357"/>
                <a:gd name="T7" fmla="*/ 730 h 1081"/>
                <a:gd name="T8" fmla="*/ 19 w 1357"/>
                <a:gd name="T9" fmla="*/ 730 h 1081"/>
                <a:gd name="T10" fmla="*/ 19 w 1357"/>
                <a:gd name="T11" fmla="*/ 797 h 1081"/>
                <a:gd name="T12" fmla="*/ 289 w 1357"/>
                <a:gd name="T13" fmla="*/ 1068 h 1081"/>
                <a:gd name="T14" fmla="*/ 323 w 1357"/>
                <a:gd name="T15" fmla="*/ 1081 h 1081"/>
                <a:gd name="T16" fmla="*/ 356 w 1357"/>
                <a:gd name="T17" fmla="*/ 1068 h 1081"/>
                <a:gd name="T18" fmla="*/ 356 w 1357"/>
                <a:gd name="T19" fmla="*/ 1068 h 1081"/>
                <a:gd name="T20" fmla="*/ 1338 w 1357"/>
                <a:gd name="T21" fmla="*/ 85 h 1081"/>
                <a:gd name="T22" fmla="*/ 1338 w 1357"/>
                <a:gd name="T23" fmla="*/ 18 h 10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57" h="1081">
                  <a:moveTo>
                    <a:pt x="1338" y="18"/>
                  </a:moveTo>
                  <a:cubicBezTo>
                    <a:pt x="1320" y="0"/>
                    <a:pt x="1290" y="0"/>
                    <a:pt x="1272" y="18"/>
                  </a:cubicBezTo>
                  <a:cubicBezTo>
                    <a:pt x="323" y="967"/>
                    <a:pt x="323" y="967"/>
                    <a:pt x="323" y="967"/>
                  </a:cubicBezTo>
                  <a:cubicBezTo>
                    <a:pt x="85" y="730"/>
                    <a:pt x="85" y="730"/>
                    <a:pt x="85" y="730"/>
                  </a:cubicBezTo>
                  <a:cubicBezTo>
                    <a:pt x="67" y="712"/>
                    <a:pt x="37" y="712"/>
                    <a:pt x="19" y="730"/>
                  </a:cubicBezTo>
                  <a:cubicBezTo>
                    <a:pt x="0" y="749"/>
                    <a:pt x="0" y="779"/>
                    <a:pt x="19" y="797"/>
                  </a:cubicBezTo>
                  <a:cubicBezTo>
                    <a:pt x="289" y="1068"/>
                    <a:pt x="289" y="1068"/>
                    <a:pt x="289" y="1068"/>
                  </a:cubicBezTo>
                  <a:cubicBezTo>
                    <a:pt x="299" y="1077"/>
                    <a:pt x="311" y="1081"/>
                    <a:pt x="323" y="1081"/>
                  </a:cubicBezTo>
                  <a:cubicBezTo>
                    <a:pt x="335" y="1081"/>
                    <a:pt x="347" y="1077"/>
                    <a:pt x="356" y="1068"/>
                  </a:cubicBezTo>
                  <a:cubicBezTo>
                    <a:pt x="356" y="1068"/>
                    <a:pt x="356" y="1068"/>
                    <a:pt x="356" y="1068"/>
                  </a:cubicBezTo>
                  <a:cubicBezTo>
                    <a:pt x="1338" y="85"/>
                    <a:pt x="1338" y="85"/>
                    <a:pt x="1338" y="85"/>
                  </a:cubicBezTo>
                  <a:cubicBezTo>
                    <a:pt x="1357" y="67"/>
                    <a:pt x="1357" y="37"/>
                    <a:pt x="1338" y="18"/>
                  </a:cubicBezTo>
                  <a:close/>
                </a:path>
              </a:pathLst>
            </a:custGeom>
            <a:grpFill/>
            <a:ln w="19050">
              <a:solidFill>
                <a:srgbClr val="0087CD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30" name="TextBox 29">
            <a:extLst>
              <a:ext uri="{FF2B5EF4-FFF2-40B4-BE49-F238E27FC236}">
                <a16:creationId xmlns:a16="http://schemas.microsoft.com/office/drawing/2014/main" id="{978BFF28-94B7-44CA-B704-6D682CF30982}"/>
              </a:ext>
            </a:extLst>
          </p:cNvPr>
          <p:cNvSpPr txBox="1"/>
          <p:nvPr/>
        </p:nvSpPr>
        <p:spPr>
          <a:xfrm>
            <a:off x="6818061" y="5081217"/>
            <a:ext cx="264978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 sz="1600" b="1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400" dirty="0">
                <a:solidFill>
                  <a:srgbClr val="0087CD"/>
                </a:solidFill>
              </a:rPr>
              <a:t>ДОГОВОР ФАКТОРИНГА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100" b="0" dirty="0">
                <a:solidFill>
                  <a:schemeClr val="tx1"/>
                </a:solidFill>
              </a:rPr>
              <a:t>заключается между Поставщиком и Фактором</a:t>
            </a:r>
          </a:p>
        </p:txBody>
      </p:sp>
      <p:grpSp>
        <p:nvGrpSpPr>
          <p:cNvPr id="31" name="Group 4">
            <a:extLst>
              <a:ext uri="{FF2B5EF4-FFF2-40B4-BE49-F238E27FC236}">
                <a16:creationId xmlns:a16="http://schemas.microsoft.com/office/drawing/2014/main" id="{522A3EFF-EEAC-4523-910F-6774DFD646A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589378" y="6049524"/>
            <a:ext cx="327900" cy="310221"/>
            <a:chOff x="-4568" y="135"/>
            <a:chExt cx="4025" cy="3808"/>
          </a:xfrm>
          <a:solidFill>
            <a:schemeClr val="bg2"/>
          </a:solidFill>
        </p:grpSpPr>
        <p:sp>
          <p:nvSpPr>
            <p:cNvPr id="32" name="Freeform 5">
              <a:extLst>
                <a:ext uri="{FF2B5EF4-FFF2-40B4-BE49-F238E27FC236}">
                  <a16:creationId xmlns:a16="http://schemas.microsoft.com/office/drawing/2014/main" id="{1F87DCBD-E693-42AA-8807-7519B37B9558}"/>
                </a:ext>
              </a:extLst>
            </p:cNvPr>
            <p:cNvSpPr>
              <a:spLocks/>
            </p:cNvSpPr>
            <p:nvPr/>
          </p:nvSpPr>
          <p:spPr bwMode="auto">
            <a:xfrm>
              <a:off x="-4568" y="263"/>
              <a:ext cx="3679" cy="3680"/>
            </a:xfrm>
            <a:custGeom>
              <a:avLst/>
              <a:gdLst>
                <a:gd name="T0" fmla="*/ 1508 w 1555"/>
                <a:gd name="T1" fmla="*/ 386 h 1555"/>
                <a:gd name="T2" fmla="*/ 1460 w 1555"/>
                <a:gd name="T3" fmla="*/ 433 h 1555"/>
                <a:gd name="T4" fmla="*/ 1460 w 1555"/>
                <a:gd name="T5" fmla="*/ 1296 h 1555"/>
                <a:gd name="T6" fmla="*/ 1295 w 1555"/>
                <a:gd name="T7" fmla="*/ 1461 h 1555"/>
                <a:gd name="T8" fmla="*/ 260 w 1555"/>
                <a:gd name="T9" fmla="*/ 1461 h 1555"/>
                <a:gd name="T10" fmla="*/ 94 w 1555"/>
                <a:gd name="T11" fmla="*/ 1296 h 1555"/>
                <a:gd name="T12" fmla="*/ 94 w 1555"/>
                <a:gd name="T13" fmla="*/ 260 h 1555"/>
                <a:gd name="T14" fmla="*/ 260 w 1555"/>
                <a:gd name="T15" fmla="*/ 95 h 1555"/>
                <a:gd name="T16" fmla="*/ 1295 w 1555"/>
                <a:gd name="T17" fmla="*/ 95 h 1555"/>
                <a:gd name="T18" fmla="*/ 1342 w 1555"/>
                <a:gd name="T19" fmla="*/ 48 h 1555"/>
                <a:gd name="T20" fmla="*/ 1295 w 1555"/>
                <a:gd name="T21" fmla="*/ 0 h 1555"/>
                <a:gd name="T22" fmla="*/ 260 w 1555"/>
                <a:gd name="T23" fmla="*/ 0 h 1555"/>
                <a:gd name="T24" fmla="*/ 0 w 1555"/>
                <a:gd name="T25" fmla="*/ 260 h 1555"/>
                <a:gd name="T26" fmla="*/ 0 w 1555"/>
                <a:gd name="T27" fmla="*/ 1296 h 1555"/>
                <a:gd name="T28" fmla="*/ 260 w 1555"/>
                <a:gd name="T29" fmla="*/ 1555 h 1555"/>
                <a:gd name="T30" fmla="*/ 1295 w 1555"/>
                <a:gd name="T31" fmla="*/ 1555 h 1555"/>
                <a:gd name="T32" fmla="*/ 1555 w 1555"/>
                <a:gd name="T33" fmla="*/ 1296 h 1555"/>
                <a:gd name="T34" fmla="*/ 1555 w 1555"/>
                <a:gd name="T35" fmla="*/ 433 h 1555"/>
                <a:gd name="T36" fmla="*/ 1508 w 1555"/>
                <a:gd name="T37" fmla="*/ 386 h 15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555" h="1555">
                  <a:moveTo>
                    <a:pt x="1508" y="386"/>
                  </a:moveTo>
                  <a:cubicBezTo>
                    <a:pt x="1482" y="386"/>
                    <a:pt x="1460" y="407"/>
                    <a:pt x="1460" y="433"/>
                  </a:cubicBezTo>
                  <a:cubicBezTo>
                    <a:pt x="1460" y="1296"/>
                    <a:pt x="1460" y="1296"/>
                    <a:pt x="1460" y="1296"/>
                  </a:cubicBezTo>
                  <a:cubicBezTo>
                    <a:pt x="1460" y="1387"/>
                    <a:pt x="1386" y="1461"/>
                    <a:pt x="1295" y="1461"/>
                  </a:cubicBezTo>
                  <a:cubicBezTo>
                    <a:pt x="260" y="1461"/>
                    <a:pt x="260" y="1461"/>
                    <a:pt x="260" y="1461"/>
                  </a:cubicBezTo>
                  <a:cubicBezTo>
                    <a:pt x="168" y="1461"/>
                    <a:pt x="94" y="1387"/>
                    <a:pt x="94" y="1296"/>
                  </a:cubicBezTo>
                  <a:cubicBezTo>
                    <a:pt x="94" y="260"/>
                    <a:pt x="94" y="260"/>
                    <a:pt x="94" y="260"/>
                  </a:cubicBezTo>
                  <a:cubicBezTo>
                    <a:pt x="94" y="169"/>
                    <a:pt x="168" y="95"/>
                    <a:pt x="260" y="95"/>
                  </a:cubicBezTo>
                  <a:cubicBezTo>
                    <a:pt x="1295" y="95"/>
                    <a:pt x="1295" y="95"/>
                    <a:pt x="1295" y="95"/>
                  </a:cubicBezTo>
                  <a:cubicBezTo>
                    <a:pt x="1321" y="95"/>
                    <a:pt x="1342" y="74"/>
                    <a:pt x="1342" y="48"/>
                  </a:cubicBezTo>
                  <a:cubicBezTo>
                    <a:pt x="1342" y="21"/>
                    <a:pt x="1321" y="0"/>
                    <a:pt x="1295" y="0"/>
                  </a:cubicBezTo>
                  <a:cubicBezTo>
                    <a:pt x="260" y="0"/>
                    <a:pt x="260" y="0"/>
                    <a:pt x="260" y="0"/>
                  </a:cubicBezTo>
                  <a:cubicBezTo>
                    <a:pt x="116" y="0"/>
                    <a:pt x="0" y="117"/>
                    <a:pt x="0" y="260"/>
                  </a:cubicBezTo>
                  <a:cubicBezTo>
                    <a:pt x="0" y="1296"/>
                    <a:pt x="0" y="1296"/>
                    <a:pt x="0" y="1296"/>
                  </a:cubicBezTo>
                  <a:cubicBezTo>
                    <a:pt x="0" y="1439"/>
                    <a:pt x="116" y="1555"/>
                    <a:pt x="260" y="1555"/>
                  </a:cubicBezTo>
                  <a:cubicBezTo>
                    <a:pt x="1295" y="1555"/>
                    <a:pt x="1295" y="1555"/>
                    <a:pt x="1295" y="1555"/>
                  </a:cubicBezTo>
                  <a:cubicBezTo>
                    <a:pt x="1438" y="1555"/>
                    <a:pt x="1555" y="1439"/>
                    <a:pt x="1555" y="1296"/>
                  </a:cubicBezTo>
                  <a:cubicBezTo>
                    <a:pt x="1555" y="433"/>
                    <a:pt x="1555" y="433"/>
                    <a:pt x="1555" y="433"/>
                  </a:cubicBezTo>
                  <a:cubicBezTo>
                    <a:pt x="1555" y="407"/>
                    <a:pt x="1534" y="386"/>
                    <a:pt x="1508" y="386"/>
                  </a:cubicBezTo>
                  <a:close/>
                </a:path>
              </a:pathLst>
            </a:custGeom>
            <a:grpFill/>
            <a:ln w="19050">
              <a:solidFill>
                <a:srgbClr val="0087CD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33" name="Freeform 6">
              <a:extLst>
                <a:ext uri="{FF2B5EF4-FFF2-40B4-BE49-F238E27FC236}">
                  <a16:creationId xmlns:a16="http://schemas.microsoft.com/office/drawing/2014/main" id="{E3836FFF-548D-49B7-87A6-EAC1DD256DB9}"/>
                </a:ext>
              </a:extLst>
            </p:cNvPr>
            <p:cNvSpPr>
              <a:spLocks/>
            </p:cNvSpPr>
            <p:nvPr/>
          </p:nvSpPr>
          <p:spPr bwMode="auto">
            <a:xfrm>
              <a:off x="-3754" y="135"/>
              <a:ext cx="3211" cy="2558"/>
            </a:xfrm>
            <a:custGeom>
              <a:avLst/>
              <a:gdLst>
                <a:gd name="T0" fmla="*/ 1338 w 1357"/>
                <a:gd name="T1" fmla="*/ 18 h 1081"/>
                <a:gd name="T2" fmla="*/ 1272 w 1357"/>
                <a:gd name="T3" fmla="*/ 18 h 1081"/>
                <a:gd name="T4" fmla="*/ 323 w 1357"/>
                <a:gd name="T5" fmla="*/ 967 h 1081"/>
                <a:gd name="T6" fmla="*/ 85 w 1357"/>
                <a:gd name="T7" fmla="*/ 730 h 1081"/>
                <a:gd name="T8" fmla="*/ 19 w 1357"/>
                <a:gd name="T9" fmla="*/ 730 h 1081"/>
                <a:gd name="T10" fmla="*/ 19 w 1357"/>
                <a:gd name="T11" fmla="*/ 797 h 1081"/>
                <a:gd name="T12" fmla="*/ 289 w 1357"/>
                <a:gd name="T13" fmla="*/ 1068 h 1081"/>
                <a:gd name="T14" fmla="*/ 323 w 1357"/>
                <a:gd name="T15" fmla="*/ 1081 h 1081"/>
                <a:gd name="T16" fmla="*/ 356 w 1357"/>
                <a:gd name="T17" fmla="*/ 1068 h 1081"/>
                <a:gd name="T18" fmla="*/ 356 w 1357"/>
                <a:gd name="T19" fmla="*/ 1068 h 1081"/>
                <a:gd name="T20" fmla="*/ 1338 w 1357"/>
                <a:gd name="T21" fmla="*/ 85 h 1081"/>
                <a:gd name="T22" fmla="*/ 1338 w 1357"/>
                <a:gd name="T23" fmla="*/ 18 h 10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57" h="1081">
                  <a:moveTo>
                    <a:pt x="1338" y="18"/>
                  </a:moveTo>
                  <a:cubicBezTo>
                    <a:pt x="1320" y="0"/>
                    <a:pt x="1290" y="0"/>
                    <a:pt x="1272" y="18"/>
                  </a:cubicBezTo>
                  <a:cubicBezTo>
                    <a:pt x="323" y="967"/>
                    <a:pt x="323" y="967"/>
                    <a:pt x="323" y="967"/>
                  </a:cubicBezTo>
                  <a:cubicBezTo>
                    <a:pt x="85" y="730"/>
                    <a:pt x="85" y="730"/>
                    <a:pt x="85" y="730"/>
                  </a:cubicBezTo>
                  <a:cubicBezTo>
                    <a:pt x="67" y="712"/>
                    <a:pt x="37" y="712"/>
                    <a:pt x="19" y="730"/>
                  </a:cubicBezTo>
                  <a:cubicBezTo>
                    <a:pt x="0" y="749"/>
                    <a:pt x="0" y="779"/>
                    <a:pt x="19" y="797"/>
                  </a:cubicBezTo>
                  <a:cubicBezTo>
                    <a:pt x="289" y="1068"/>
                    <a:pt x="289" y="1068"/>
                    <a:pt x="289" y="1068"/>
                  </a:cubicBezTo>
                  <a:cubicBezTo>
                    <a:pt x="299" y="1077"/>
                    <a:pt x="311" y="1081"/>
                    <a:pt x="323" y="1081"/>
                  </a:cubicBezTo>
                  <a:cubicBezTo>
                    <a:pt x="335" y="1081"/>
                    <a:pt x="347" y="1077"/>
                    <a:pt x="356" y="1068"/>
                  </a:cubicBezTo>
                  <a:cubicBezTo>
                    <a:pt x="356" y="1068"/>
                    <a:pt x="356" y="1068"/>
                    <a:pt x="356" y="1068"/>
                  </a:cubicBezTo>
                  <a:cubicBezTo>
                    <a:pt x="1338" y="85"/>
                    <a:pt x="1338" y="85"/>
                    <a:pt x="1338" y="85"/>
                  </a:cubicBezTo>
                  <a:cubicBezTo>
                    <a:pt x="1357" y="67"/>
                    <a:pt x="1357" y="37"/>
                    <a:pt x="1338" y="18"/>
                  </a:cubicBezTo>
                  <a:close/>
                </a:path>
              </a:pathLst>
            </a:custGeom>
            <a:grpFill/>
            <a:ln w="19050">
              <a:solidFill>
                <a:srgbClr val="0087CD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35" name="Group 4">
            <a:extLst>
              <a:ext uri="{FF2B5EF4-FFF2-40B4-BE49-F238E27FC236}">
                <a16:creationId xmlns:a16="http://schemas.microsoft.com/office/drawing/2014/main" id="{6A1CCA90-C2A7-4428-938C-92CB055209F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443420" y="5154433"/>
            <a:ext cx="327900" cy="310221"/>
            <a:chOff x="-4568" y="135"/>
            <a:chExt cx="4025" cy="3808"/>
          </a:xfrm>
          <a:solidFill>
            <a:schemeClr val="bg2"/>
          </a:solidFill>
        </p:grpSpPr>
        <p:sp>
          <p:nvSpPr>
            <p:cNvPr id="36" name="Freeform 5">
              <a:extLst>
                <a:ext uri="{FF2B5EF4-FFF2-40B4-BE49-F238E27FC236}">
                  <a16:creationId xmlns:a16="http://schemas.microsoft.com/office/drawing/2014/main" id="{E8EA0593-BA36-405B-8D38-FA83208511EB}"/>
                </a:ext>
              </a:extLst>
            </p:cNvPr>
            <p:cNvSpPr>
              <a:spLocks/>
            </p:cNvSpPr>
            <p:nvPr/>
          </p:nvSpPr>
          <p:spPr bwMode="auto">
            <a:xfrm>
              <a:off x="-4568" y="263"/>
              <a:ext cx="3679" cy="3680"/>
            </a:xfrm>
            <a:custGeom>
              <a:avLst/>
              <a:gdLst>
                <a:gd name="T0" fmla="*/ 1508 w 1555"/>
                <a:gd name="T1" fmla="*/ 386 h 1555"/>
                <a:gd name="T2" fmla="*/ 1460 w 1555"/>
                <a:gd name="T3" fmla="*/ 433 h 1555"/>
                <a:gd name="T4" fmla="*/ 1460 w 1555"/>
                <a:gd name="T5" fmla="*/ 1296 h 1555"/>
                <a:gd name="T6" fmla="*/ 1295 w 1555"/>
                <a:gd name="T7" fmla="*/ 1461 h 1555"/>
                <a:gd name="T8" fmla="*/ 260 w 1555"/>
                <a:gd name="T9" fmla="*/ 1461 h 1555"/>
                <a:gd name="T10" fmla="*/ 94 w 1555"/>
                <a:gd name="T11" fmla="*/ 1296 h 1555"/>
                <a:gd name="T12" fmla="*/ 94 w 1555"/>
                <a:gd name="T13" fmla="*/ 260 h 1555"/>
                <a:gd name="T14" fmla="*/ 260 w 1555"/>
                <a:gd name="T15" fmla="*/ 95 h 1555"/>
                <a:gd name="T16" fmla="*/ 1295 w 1555"/>
                <a:gd name="T17" fmla="*/ 95 h 1555"/>
                <a:gd name="T18" fmla="*/ 1342 w 1555"/>
                <a:gd name="T19" fmla="*/ 48 h 1555"/>
                <a:gd name="T20" fmla="*/ 1295 w 1555"/>
                <a:gd name="T21" fmla="*/ 0 h 1555"/>
                <a:gd name="T22" fmla="*/ 260 w 1555"/>
                <a:gd name="T23" fmla="*/ 0 h 1555"/>
                <a:gd name="T24" fmla="*/ 0 w 1555"/>
                <a:gd name="T25" fmla="*/ 260 h 1555"/>
                <a:gd name="T26" fmla="*/ 0 w 1555"/>
                <a:gd name="T27" fmla="*/ 1296 h 1555"/>
                <a:gd name="T28" fmla="*/ 260 w 1555"/>
                <a:gd name="T29" fmla="*/ 1555 h 1555"/>
                <a:gd name="T30" fmla="*/ 1295 w 1555"/>
                <a:gd name="T31" fmla="*/ 1555 h 1555"/>
                <a:gd name="T32" fmla="*/ 1555 w 1555"/>
                <a:gd name="T33" fmla="*/ 1296 h 1555"/>
                <a:gd name="T34" fmla="*/ 1555 w 1555"/>
                <a:gd name="T35" fmla="*/ 433 h 1555"/>
                <a:gd name="T36" fmla="*/ 1508 w 1555"/>
                <a:gd name="T37" fmla="*/ 386 h 15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555" h="1555">
                  <a:moveTo>
                    <a:pt x="1508" y="386"/>
                  </a:moveTo>
                  <a:cubicBezTo>
                    <a:pt x="1482" y="386"/>
                    <a:pt x="1460" y="407"/>
                    <a:pt x="1460" y="433"/>
                  </a:cubicBezTo>
                  <a:cubicBezTo>
                    <a:pt x="1460" y="1296"/>
                    <a:pt x="1460" y="1296"/>
                    <a:pt x="1460" y="1296"/>
                  </a:cubicBezTo>
                  <a:cubicBezTo>
                    <a:pt x="1460" y="1387"/>
                    <a:pt x="1386" y="1461"/>
                    <a:pt x="1295" y="1461"/>
                  </a:cubicBezTo>
                  <a:cubicBezTo>
                    <a:pt x="260" y="1461"/>
                    <a:pt x="260" y="1461"/>
                    <a:pt x="260" y="1461"/>
                  </a:cubicBezTo>
                  <a:cubicBezTo>
                    <a:pt x="168" y="1461"/>
                    <a:pt x="94" y="1387"/>
                    <a:pt x="94" y="1296"/>
                  </a:cubicBezTo>
                  <a:cubicBezTo>
                    <a:pt x="94" y="260"/>
                    <a:pt x="94" y="260"/>
                    <a:pt x="94" y="260"/>
                  </a:cubicBezTo>
                  <a:cubicBezTo>
                    <a:pt x="94" y="169"/>
                    <a:pt x="168" y="95"/>
                    <a:pt x="260" y="95"/>
                  </a:cubicBezTo>
                  <a:cubicBezTo>
                    <a:pt x="1295" y="95"/>
                    <a:pt x="1295" y="95"/>
                    <a:pt x="1295" y="95"/>
                  </a:cubicBezTo>
                  <a:cubicBezTo>
                    <a:pt x="1321" y="95"/>
                    <a:pt x="1342" y="74"/>
                    <a:pt x="1342" y="48"/>
                  </a:cubicBezTo>
                  <a:cubicBezTo>
                    <a:pt x="1342" y="21"/>
                    <a:pt x="1321" y="0"/>
                    <a:pt x="1295" y="0"/>
                  </a:cubicBezTo>
                  <a:cubicBezTo>
                    <a:pt x="260" y="0"/>
                    <a:pt x="260" y="0"/>
                    <a:pt x="260" y="0"/>
                  </a:cubicBezTo>
                  <a:cubicBezTo>
                    <a:pt x="116" y="0"/>
                    <a:pt x="0" y="117"/>
                    <a:pt x="0" y="260"/>
                  </a:cubicBezTo>
                  <a:cubicBezTo>
                    <a:pt x="0" y="1296"/>
                    <a:pt x="0" y="1296"/>
                    <a:pt x="0" y="1296"/>
                  </a:cubicBezTo>
                  <a:cubicBezTo>
                    <a:pt x="0" y="1439"/>
                    <a:pt x="116" y="1555"/>
                    <a:pt x="260" y="1555"/>
                  </a:cubicBezTo>
                  <a:cubicBezTo>
                    <a:pt x="1295" y="1555"/>
                    <a:pt x="1295" y="1555"/>
                    <a:pt x="1295" y="1555"/>
                  </a:cubicBezTo>
                  <a:cubicBezTo>
                    <a:pt x="1438" y="1555"/>
                    <a:pt x="1555" y="1439"/>
                    <a:pt x="1555" y="1296"/>
                  </a:cubicBezTo>
                  <a:cubicBezTo>
                    <a:pt x="1555" y="433"/>
                    <a:pt x="1555" y="433"/>
                    <a:pt x="1555" y="433"/>
                  </a:cubicBezTo>
                  <a:cubicBezTo>
                    <a:pt x="1555" y="407"/>
                    <a:pt x="1534" y="386"/>
                    <a:pt x="1508" y="386"/>
                  </a:cubicBezTo>
                  <a:close/>
                </a:path>
              </a:pathLst>
            </a:custGeom>
            <a:grpFill/>
            <a:ln w="19050">
              <a:solidFill>
                <a:srgbClr val="0087CD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37" name="Freeform 6">
              <a:extLst>
                <a:ext uri="{FF2B5EF4-FFF2-40B4-BE49-F238E27FC236}">
                  <a16:creationId xmlns:a16="http://schemas.microsoft.com/office/drawing/2014/main" id="{D79F4997-F577-44AF-912C-833977F33C19}"/>
                </a:ext>
              </a:extLst>
            </p:cNvPr>
            <p:cNvSpPr>
              <a:spLocks/>
            </p:cNvSpPr>
            <p:nvPr/>
          </p:nvSpPr>
          <p:spPr bwMode="auto">
            <a:xfrm>
              <a:off x="-3754" y="135"/>
              <a:ext cx="3211" cy="2558"/>
            </a:xfrm>
            <a:custGeom>
              <a:avLst/>
              <a:gdLst>
                <a:gd name="T0" fmla="*/ 1338 w 1357"/>
                <a:gd name="T1" fmla="*/ 18 h 1081"/>
                <a:gd name="T2" fmla="*/ 1272 w 1357"/>
                <a:gd name="T3" fmla="*/ 18 h 1081"/>
                <a:gd name="T4" fmla="*/ 323 w 1357"/>
                <a:gd name="T5" fmla="*/ 967 h 1081"/>
                <a:gd name="T6" fmla="*/ 85 w 1357"/>
                <a:gd name="T7" fmla="*/ 730 h 1081"/>
                <a:gd name="T8" fmla="*/ 19 w 1357"/>
                <a:gd name="T9" fmla="*/ 730 h 1081"/>
                <a:gd name="T10" fmla="*/ 19 w 1357"/>
                <a:gd name="T11" fmla="*/ 797 h 1081"/>
                <a:gd name="T12" fmla="*/ 289 w 1357"/>
                <a:gd name="T13" fmla="*/ 1068 h 1081"/>
                <a:gd name="T14" fmla="*/ 323 w 1357"/>
                <a:gd name="T15" fmla="*/ 1081 h 1081"/>
                <a:gd name="T16" fmla="*/ 356 w 1357"/>
                <a:gd name="T17" fmla="*/ 1068 h 1081"/>
                <a:gd name="T18" fmla="*/ 356 w 1357"/>
                <a:gd name="T19" fmla="*/ 1068 h 1081"/>
                <a:gd name="T20" fmla="*/ 1338 w 1357"/>
                <a:gd name="T21" fmla="*/ 85 h 1081"/>
                <a:gd name="T22" fmla="*/ 1338 w 1357"/>
                <a:gd name="T23" fmla="*/ 18 h 10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57" h="1081">
                  <a:moveTo>
                    <a:pt x="1338" y="18"/>
                  </a:moveTo>
                  <a:cubicBezTo>
                    <a:pt x="1320" y="0"/>
                    <a:pt x="1290" y="0"/>
                    <a:pt x="1272" y="18"/>
                  </a:cubicBezTo>
                  <a:cubicBezTo>
                    <a:pt x="323" y="967"/>
                    <a:pt x="323" y="967"/>
                    <a:pt x="323" y="967"/>
                  </a:cubicBezTo>
                  <a:cubicBezTo>
                    <a:pt x="85" y="730"/>
                    <a:pt x="85" y="730"/>
                    <a:pt x="85" y="730"/>
                  </a:cubicBezTo>
                  <a:cubicBezTo>
                    <a:pt x="67" y="712"/>
                    <a:pt x="37" y="712"/>
                    <a:pt x="19" y="730"/>
                  </a:cubicBezTo>
                  <a:cubicBezTo>
                    <a:pt x="0" y="749"/>
                    <a:pt x="0" y="779"/>
                    <a:pt x="19" y="797"/>
                  </a:cubicBezTo>
                  <a:cubicBezTo>
                    <a:pt x="289" y="1068"/>
                    <a:pt x="289" y="1068"/>
                    <a:pt x="289" y="1068"/>
                  </a:cubicBezTo>
                  <a:cubicBezTo>
                    <a:pt x="299" y="1077"/>
                    <a:pt x="311" y="1081"/>
                    <a:pt x="323" y="1081"/>
                  </a:cubicBezTo>
                  <a:cubicBezTo>
                    <a:pt x="335" y="1081"/>
                    <a:pt x="347" y="1077"/>
                    <a:pt x="356" y="1068"/>
                  </a:cubicBezTo>
                  <a:cubicBezTo>
                    <a:pt x="356" y="1068"/>
                    <a:pt x="356" y="1068"/>
                    <a:pt x="356" y="1068"/>
                  </a:cubicBezTo>
                  <a:cubicBezTo>
                    <a:pt x="1338" y="85"/>
                    <a:pt x="1338" y="85"/>
                    <a:pt x="1338" y="85"/>
                  </a:cubicBezTo>
                  <a:cubicBezTo>
                    <a:pt x="1357" y="67"/>
                    <a:pt x="1357" y="37"/>
                    <a:pt x="1338" y="18"/>
                  </a:cubicBezTo>
                  <a:close/>
                </a:path>
              </a:pathLst>
            </a:custGeom>
            <a:grpFill/>
            <a:ln w="19050">
              <a:solidFill>
                <a:srgbClr val="0087CD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38" name="Group 4">
            <a:extLst>
              <a:ext uri="{FF2B5EF4-FFF2-40B4-BE49-F238E27FC236}">
                <a16:creationId xmlns:a16="http://schemas.microsoft.com/office/drawing/2014/main" id="{8C68EBDB-EF68-443C-B0CB-822CB84DE01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445172" y="6038421"/>
            <a:ext cx="327900" cy="310221"/>
            <a:chOff x="-4568" y="135"/>
            <a:chExt cx="4025" cy="3808"/>
          </a:xfrm>
          <a:solidFill>
            <a:schemeClr val="bg2"/>
          </a:solidFill>
        </p:grpSpPr>
        <p:sp>
          <p:nvSpPr>
            <p:cNvPr id="39" name="Freeform 5">
              <a:extLst>
                <a:ext uri="{FF2B5EF4-FFF2-40B4-BE49-F238E27FC236}">
                  <a16:creationId xmlns:a16="http://schemas.microsoft.com/office/drawing/2014/main" id="{71BE934C-D899-438C-AE66-DCFDDA665352}"/>
                </a:ext>
              </a:extLst>
            </p:cNvPr>
            <p:cNvSpPr>
              <a:spLocks/>
            </p:cNvSpPr>
            <p:nvPr/>
          </p:nvSpPr>
          <p:spPr bwMode="auto">
            <a:xfrm>
              <a:off x="-4568" y="263"/>
              <a:ext cx="3679" cy="3680"/>
            </a:xfrm>
            <a:custGeom>
              <a:avLst/>
              <a:gdLst>
                <a:gd name="T0" fmla="*/ 1508 w 1555"/>
                <a:gd name="T1" fmla="*/ 386 h 1555"/>
                <a:gd name="T2" fmla="*/ 1460 w 1555"/>
                <a:gd name="T3" fmla="*/ 433 h 1555"/>
                <a:gd name="T4" fmla="*/ 1460 w 1555"/>
                <a:gd name="T5" fmla="*/ 1296 h 1555"/>
                <a:gd name="T6" fmla="*/ 1295 w 1555"/>
                <a:gd name="T7" fmla="*/ 1461 h 1555"/>
                <a:gd name="T8" fmla="*/ 260 w 1555"/>
                <a:gd name="T9" fmla="*/ 1461 h 1555"/>
                <a:gd name="T10" fmla="*/ 94 w 1555"/>
                <a:gd name="T11" fmla="*/ 1296 h 1555"/>
                <a:gd name="T12" fmla="*/ 94 w 1555"/>
                <a:gd name="T13" fmla="*/ 260 h 1555"/>
                <a:gd name="T14" fmla="*/ 260 w 1555"/>
                <a:gd name="T15" fmla="*/ 95 h 1555"/>
                <a:gd name="T16" fmla="*/ 1295 w 1555"/>
                <a:gd name="T17" fmla="*/ 95 h 1555"/>
                <a:gd name="T18" fmla="*/ 1342 w 1555"/>
                <a:gd name="T19" fmla="*/ 48 h 1555"/>
                <a:gd name="T20" fmla="*/ 1295 w 1555"/>
                <a:gd name="T21" fmla="*/ 0 h 1555"/>
                <a:gd name="T22" fmla="*/ 260 w 1555"/>
                <a:gd name="T23" fmla="*/ 0 h 1555"/>
                <a:gd name="T24" fmla="*/ 0 w 1555"/>
                <a:gd name="T25" fmla="*/ 260 h 1555"/>
                <a:gd name="T26" fmla="*/ 0 w 1555"/>
                <a:gd name="T27" fmla="*/ 1296 h 1555"/>
                <a:gd name="T28" fmla="*/ 260 w 1555"/>
                <a:gd name="T29" fmla="*/ 1555 h 1555"/>
                <a:gd name="T30" fmla="*/ 1295 w 1555"/>
                <a:gd name="T31" fmla="*/ 1555 h 1555"/>
                <a:gd name="T32" fmla="*/ 1555 w 1555"/>
                <a:gd name="T33" fmla="*/ 1296 h 1555"/>
                <a:gd name="T34" fmla="*/ 1555 w 1555"/>
                <a:gd name="T35" fmla="*/ 433 h 1555"/>
                <a:gd name="T36" fmla="*/ 1508 w 1555"/>
                <a:gd name="T37" fmla="*/ 386 h 15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555" h="1555">
                  <a:moveTo>
                    <a:pt x="1508" y="386"/>
                  </a:moveTo>
                  <a:cubicBezTo>
                    <a:pt x="1482" y="386"/>
                    <a:pt x="1460" y="407"/>
                    <a:pt x="1460" y="433"/>
                  </a:cubicBezTo>
                  <a:cubicBezTo>
                    <a:pt x="1460" y="1296"/>
                    <a:pt x="1460" y="1296"/>
                    <a:pt x="1460" y="1296"/>
                  </a:cubicBezTo>
                  <a:cubicBezTo>
                    <a:pt x="1460" y="1387"/>
                    <a:pt x="1386" y="1461"/>
                    <a:pt x="1295" y="1461"/>
                  </a:cubicBezTo>
                  <a:cubicBezTo>
                    <a:pt x="260" y="1461"/>
                    <a:pt x="260" y="1461"/>
                    <a:pt x="260" y="1461"/>
                  </a:cubicBezTo>
                  <a:cubicBezTo>
                    <a:pt x="168" y="1461"/>
                    <a:pt x="94" y="1387"/>
                    <a:pt x="94" y="1296"/>
                  </a:cubicBezTo>
                  <a:cubicBezTo>
                    <a:pt x="94" y="260"/>
                    <a:pt x="94" y="260"/>
                    <a:pt x="94" y="260"/>
                  </a:cubicBezTo>
                  <a:cubicBezTo>
                    <a:pt x="94" y="169"/>
                    <a:pt x="168" y="95"/>
                    <a:pt x="260" y="95"/>
                  </a:cubicBezTo>
                  <a:cubicBezTo>
                    <a:pt x="1295" y="95"/>
                    <a:pt x="1295" y="95"/>
                    <a:pt x="1295" y="95"/>
                  </a:cubicBezTo>
                  <a:cubicBezTo>
                    <a:pt x="1321" y="95"/>
                    <a:pt x="1342" y="74"/>
                    <a:pt x="1342" y="48"/>
                  </a:cubicBezTo>
                  <a:cubicBezTo>
                    <a:pt x="1342" y="21"/>
                    <a:pt x="1321" y="0"/>
                    <a:pt x="1295" y="0"/>
                  </a:cubicBezTo>
                  <a:cubicBezTo>
                    <a:pt x="260" y="0"/>
                    <a:pt x="260" y="0"/>
                    <a:pt x="260" y="0"/>
                  </a:cubicBezTo>
                  <a:cubicBezTo>
                    <a:pt x="116" y="0"/>
                    <a:pt x="0" y="117"/>
                    <a:pt x="0" y="260"/>
                  </a:cubicBezTo>
                  <a:cubicBezTo>
                    <a:pt x="0" y="1296"/>
                    <a:pt x="0" y="1296"/>
                    <a:pt x="0" y="1296"/>
                  </a:cubicBezTo>
                  <a:cubicBezTo>
                    <a:pt x="0" y="1439"/>
                    <a:pt x="116" y="1555"/>
                    <a:pt x="260" y="1555"/>
                  </a:cubicBezTo>
                  <a:cubicBezTo>
                    <a:pt x="1295" y="1555"/>
                    <a:pt x="1295" y="1555"/>
                    <a:pt x="1295" y="1555"/>
                  </a:cubicBezTo>
                  <a:cubicBezTo>
                    <a:pt x="1438" y="1555"/>
                    <a:pt x="1555" y="1439"/>
                    <a:pt x="1555" y="1296"/>
                  </a:cubicBezTo>
                  <a:cubicBezTo>
                    <a:pt x="1555" y="433"/>
                    <a:pt x="1555" y="433"/>
                    <a:pt x="1555" y="433"/>
                  </a:cubicBezTo>
                  <a:cubicBezTo>
                    <a:pt x="1555" y="407"/>
                    <a:pt x="1534" y="386"/>
                    <a:pt x="1508" y="386"/>
                  </a:cubicBezTo>
                  <a:close/>
                </a:path>
              </a:pathLst>
            </a:custGeom>
            <a:grpFill/>
            <a:ln w="19050">
              <a:solidFill>
                <a:srgbClr val="0087CD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0" name="Freeform 6">
              <a:extLst>
                <a:ext uri="{FF2B5EF4-FFF2-40B4-BE49-F238E27FC236}">
                  <a16:creationId xmlns:a16="http://schemas.microsoft.com/office/drawing/2014/main" id="{1E9EBC3E-2165-4A5C-A57B-2AFC55A7B9DC}"/>
                </a:ext>
              </a:extLst>
            </p:cNvPr>
            <p:cNvSpPr>
              <a:spLocks/>
            </p:cNvSpPr>
            <p:nvPr/>
          </p:nvSpPr>
          <p:spPr bwMode="auto">
            <a:xfrm>
              <a:off x="-3754" y="135"/>
              <a:ext cx="3211" cy="2558"/>
            </a:xfrm>
            <a:custGeom>
              <a:avLst/>
              <a:gdLst>
                <a:gd name="T0" fmla="*/ 1338 w 1357"/>
                <a:gd name="T1" fmla="*/ 18 h 1081"/>
                <a:gd name="T2" fmla="*/ 1272 w 1357"/>
                <a:gd name="T3" fmla="*/ 18 h 1081"/>
                <a:gd name="T4" fmla="*/ 323 w 1357"/>
                <a:gd name="T5" fmla="*/ 967 h 1081"/>
                <a:gd name="T6" fmla="*/ 85 w 1357"/>
                <a:gd name="T7" fmla="*/ 730 h 1081"/>
                <a:gd name="T8" fmla="*/ 19 w 1357"/>
                <a:gd name="T9" fmla="*/ 730 h 1081"/>
                <a:gd name="T10" fmla="*/ 19 w 1357"/>
                <a:gd name="T11" fmla="*/ 797 h 1081"/>
                <a:gd name="T12" fmla="*/ 289 w 1357"/>
                <a:gd name="T13" fmla="*/ 1068 h 1081"/>
                <a:gd name="T14" fmla="*/ 323 w 1357"/>
                <a:gd name="T15" fmla="*/ 1081 h 1081"/>
                <a:gd name="T16" fmla="*/ 356 w 1357"/>
                <a:gd name="T17" fmla="*/ 1068 h 1081"/>
                <a:gd name="T18" fmla="*/ 356 w 1357"/>
                <a:gd name="T19" fmla="*/ 1068 h 1081"/>
                <a:gd name="T20" fmla="*/ 1338 w 1357"/>
                <a:gd name="T21" fmla="*/ 85 h 1081"/>
                <a:gd name="T22" fmla="*/ 1338 w 1357"/>
                <a:gd name="T23" fmla="*/ 18 h 10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57" h="1081">
                  <a:moveTo>
                    <a:pt x="1338" y="18"/>
                  </a:moveTo>
                  <a:cubicBezTo>
                    <a:pt x="1320" y="0"/>
                    <a:pt x="1290" y="0"/>
                    <a:pt x="1272" y="18"/>
                  </a:cubicBezTo>
                  <a:cubicBezTo>
                    <a:pt x="323" y="967"/>
                    <a:pt x="323" y="967"/>
                    <a:pt x="323" y="967"/>
                  </a:cubicBezTo>
                  <a:cubicBezTo>
                    <a:pt x="85" y="730"/>
                    <a:pt x="85" y="730"/>
                    <a:pt x="85" y="730"/>
                  </a:cubicBezTo>
                  <a:cubicBezTo>
                    <a:pt x="67" y="712"/>
                    <a:pt x="37" y="712"/>
                    <a:pt x="19" y="730"/>
                  </a:cubicBezTo>
                  <a:cubicBezTo>
                    <a:pt x="0" y="749"/>
                    <a:pt x="0" y="779"/>
                    <a:pt x="19" y="797"/>
                  </a:cubicBezTo>
                  <a:cubicBezTo>
                    <a:pt x="289" y="1068"/>
                    <a:pt x="289" y="1068"/>
                    <a:pt x="289" y="1068"/>
                  </a:cubicBezTo>
                  <a:cubicBezTo>
                    <a:pt x="299" y="1077"/>
                    <a:pt x="311" y="1081"/>
                    <a:pt x="323" y="1081"/>
                  </a:cubicBezTo>
                  <a:cubicBezTo>
                    <a:pt x="335" y="1081"/>
                    <a:pt x="347" y="1077"/>
                    <a:pt x="356" y="1068"/>
                  </a:cubicBezTo>
                  <a:cubicBezTo>
                    <a:pt x="356" y="1068"/>
                    <a:pt x="356" y="1068"/>
                    <a:pt x="356" y="1068"/>
                  </a:cubicBezTo>
                  <a:cubicBezTo>
                    <a:pt x="1338" y="85"/>
                    <a:pt x="1338" y="85"/>
                    <a:pt x="1338" y="85"/>
                  </a:cubicBezTo>
                  <a:cubicBezTo>
                    <a:pt x="1357" y="67"/>
                    <a:pt x="1357" y="37"/>
                    <a:pt x="1338" y="18"/>
                  </a:cubicBezTo>
                  <a:close/>
                </a:path>
              </a:pathLst>
            </a:custGeom>
            <a:grpFill/>
            <a:ln w="19050">
              <a:solidFill>
                <a:srgbClr val="0087CD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pic>
        <p:nvPicPr>
          <p:cNvPr id="41" name="Рисунок 40">
            <a:extLst>
              <a:ext uri="{FF2B5EF4-FFF2-40B4-BE49-F238E27FC236}">
                <a16:creationId xmlns:a16="http://schemas.microsoft.com/office/drawing/2014/main" id="{56164615-6E58-47B2-A913-0BB9C74EBD16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324" t="27651" r="6279" b="30744"/>
          <a:stretch/>
        </p:blipFill>
        <p:spPr>
          <a:xfrm>
            <a:off x="305219" y="1222468"/>
            <a:ext cx="1196498" cy="592540"/>
          </a:xfrm>
          <a:prstGeom prst="rect">
            <a:avLst/>
          </a:prstGeom>
        </p:spPr>
      </p:pic>
      <p:sp>
        <p:nvSpPr>
          <p:cNvPr id="42" name="TextBox 41">
            <a:extLst>
              <a:ext uri="{FF2B5EF4-FFF2-40B4-BE49-F238E27FC236}">
                <a16:creationId xmlns:a16="http://schemas.microsoft.com/office/drawing/2014/main" id="{20B987D3-1B22-4C3D-A576-BF9D3BE4E566}"/>
              </a:ext>
            </a:extLst>
          </p:cNvPr>
          <p:cNvSpPr txBox="1"/>
          <p:nvPr/>
        </p:nvSpPr>
        <p:spPr>
          <a:xfrm>
            <a:off x="1387933" y="3436309"/>
            <a:ext cx="199763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ФАКТОР</a:t>
            </a:r>
            <a:r>
              <a:rPr lang="ru-RU" dirty="0"/>
              <a:t> </a:t>
            </a: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6C33AD2C-234C-42C7-BD85-C744575352C3}"/>
              </a:ext>
            </a:extLst>
          </p:cNvPr>
          <p:cNvSpPr/>
          <p:nvPr/>
        </p:nvSpPr>
        <p:spPr>
          <a:xfrm>
            <a:off x="1318223" y="3267272"/>
            <a:ext cx="2167255" cy="800212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44" name="Рисунок 43">
            <a:extLst>
              <a:ext uri="{FF2B5EF4-FFF2-40B4-BE49-F238E27FC236}">
                <a16:creationId xmlns:a16="http://schemas.microsoft.com/office/drawing/2014/main" id="{8DE2DCBF-B381-4400-A156-B5AD350629C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456751" y="1136563"/>
            <a:ext cx="1573698" cy="524566"/>
          </a:xfrm>
          <a:prstGeom prst="rect">
            <a:avLst/>
          </a:prstGeom>
        </p:spPr>
      </p:pic>
      <p:sp>
        <p:nvSpPr>
          <p:cNvPr id="45" name="TextBox 44">
            <a:extLst>
              <a:ext uri="{FF2B5EF4-FFF2-40B4-BE49-F238E27FC236}">
                <a16:creationId xmlns:a16="http://schemas.microsoft.com/office/drawing/2014/main" id="{10C58EF4-F66D-426C-B613-6BF1EEBF8443}"/>
              </a:ext>
            </a:extLst>
          </p:cNvPr>
          <p:cNvSpPr txBox="1"/>
          <p:nvPr/>
        </p:nvSpPr>
        <p:spPr>
          <a:xfrm>
            <a:off x="2956744" y="5851135"/>
            <a:ext cx="243218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 sz="1600" b="1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400" dirty="0">
                <a:solidFill>
                  <a:srgbClr val="0087CD"/>
                </a:solidFill>
              </a:rPr>
              <a:t>ДОКУМЕНТАЦИЯ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100" b="0" dirty="0">
                <a:solidFill>
                  <a:schemeClr val="tx1"/>
                </a:solidFill>
              </a:rPr>
              <a:t>подписание и предоставление документов по ЭДО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08DBA895-1539-44D1-AECB-BB7D4D4EAB83}"/>
              </a:ext>
            </a:extLst>
          </p:cNvPr>
          <p:cNvSpPr txBox="1"/>
          <p:nvPr/>
        </p:nvSpPr>
        <p:spPr>
          <a:xfrm>
            <a:off x="6818061" y="5886682"/>
            <a:ext cx="296019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 sz="1600" b="1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400" dirty="0">
                <a:solidFill>
                  <a:srgbClr val="0087CD"/>
                </a:solidFill>
              </a:rPr>
              <a:t>ВЫПЛАТА ФИНАНСИРОВАНИЯ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100" b="0" dirty="0">
                <a:solidFill>
                  <a:schemeClr val="tx1"/>
                </a:solidFill>
              </a:rPr>
              <a:t>осуществляется по подтвержденному Дебитором реестру Поставщика</a:t>
            </a:r>
          </a:p>
        </p:txBody>
      </p:sp>
      <p:sp>
        <p:nvSpPr>
          <p:cNvPr id="47" name="Заголовок 1">
            <a:extLst>
              <a:ext uri="{FF2B5EF4-FFF2-40B4-BE49-F238E27FC236}">
                <a16:creationId xmlns:a16="http://schemas.microsoft.com/office/drawing/2014/main" id="{507E599B-775E-4184-A1F4-F5261B22288B}"/>
              </a:ext>
            </a:extLst>
          </p:cNvPr>
          <p:cNvSpPr txBox="1">
            <a:spLocks/>
          </p:cNvSpPr>
          <p:nvPr/>
        </p:nvSpPr>
        <p:spPr>
          <a:xfrm>
            <a:off x="571499" y="334128"/>
            <a:ext cx="10002539" cy="30777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0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Факторинг – инструмент оптимизации кредиторской задолженности</a:t>
            </a:r>
            <a:endParaRPr lang="ru-RU" sz="2800" b="1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425D75D0-E086-490F-A2EB-EA2A2AC3F750}"/>
              </a:ext>
            </a:extLst>
          </p:cNvPr>
          <p:cNvSpPr txBox="1"/>
          <p:nvPr/>
        </p:nvSpPr>
        <p:spPr>
          <a:xfrm>
            <a:off x="461938" y="1736159"/>
            <a:ext cx="104467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dirty="0">
                <a:latin typeface="Century Gothic" panose="020B0502020202020204" pitchFamily="34" charset="0"/>
              </a:rPr>
              <a:t>ПОСТАВЩИК</a:t>
            </a:r>
            <a:endParaRPr lang="ru-RU" sz="1000" dirty="0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2D685DC3-397C-4EE2-BBBE-0842A04CD448}"/>
              </a:ext>
            </a:extLst>
          </p:cNvPr>
          <p:cNvSpPr txBox="1"/>
          <p:nvPr/>
        </p:nvSpPr>
        <p:spPr>
          <a:xfrm>
            <a:off x="55778" y="2382693"/>
            <a:ext cx="760448" cy="8002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rgbClr val="0087CD"/>
                </a:solidFill>
                <a:latin typeface="Century Gothic" panose="020B0502020202020204" pitchFamily="34" charset="0"/>
              </a:rPr>
              <a:t>5. </a:t>
            </a:r>
            <a:r>
              <a:rPr lang="ru-RU" sz="1000" dirty="0">
                <a:solidFill>
                  <a:srgbClr val="000000"/>
                </a:solidFill>
                <a:latin typeface="Century Gothic" panose="020B0502020202020204" pitchFamily="34" charset="0"/>
              </a:rPr>
              <a:t>Оплата комиссии </a:t>
            </a:r>
          </a:p>
        </p:txBody>
      </p:sp>
    </p:spTree>
    <p:extLst>
      <p:ext uri="{BB962C8B-B14F-4D97-AF65-F5344CB8AC3E}">
        <p14:creationId xmlns:p14="http://schemas.microsoft.com/office/powerpoint/2010/main" val="54412713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57" name="Слайд think-cell" r:id="rId4" imgW="395" imgH="394" progId="TCLayout.ActiveDocument.1">
                  <p:embed/>
                </p:oleObj>
              </mc:Choice>
              <mc:Fallback>
                <p:oleObj name="Слайд think-cell" r:id="rId4" imgW="395" imgH="394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71499" y="211018"/>
            <a:ext cx="3885091" cy="430887"/>
          </a:xfrm>
        </p:spPr>
        <p:txBody>
          <a:bodyPr vert="horz"/>
          <a:lstStyle/>
          <a:p>
            <a:r>
              <a:rPr lang="ru-RU" sz="2200" b="1" dirty="0">
                <a:solidFill>
                  <a:srgbClr val="54585A"/>
                </a:solidFill>
              </a:rPr>
              <a:t>Преимущества для поставщика 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66344E1-0F76-4023-B180-E4B0CE5660A5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E1E13E41-A19E-4B91-B654-BE3D93F0D7D7}"/>
              </a:ext>
            </a:extLst>
          </p:cNvPr>
          <p:cNvSpPr/>
          <p:nvPr/>
        </p:nvSpPr>
        <p:spPr>
          <a:xfrm>
            <a:off x="0" y="6812280"/>
            <a:ext cx="12192000" cy="64007"/>
          </a:xfrm>
          <a:prstGeom prst="rect">
            <a:avLst/>
          </a:prstGeom>
          <a:gradFill>
            <a:gsLst>
              <a:gs pos="0">
                <a:srgbClr val="78BE20"/>
              </a:gs>
              <a:gs pos="44000">
                <a:srgbClr val="ED8B00"/>
              </a:gs>
              <a:gs pos="94000">
                <a:srgbClr val="54585A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ru-RU" sz="1400" dirty="0">
              <a:solidFill>
                <a:srgbClr val="54585A"/>
              </a:solidFill>
              <a:latin typeface="+mj-lt"/>
            </a:endParaRPr>
          </a:p>
        </p:txBody>
      </p:sp>
      <p:sp>
        <p:nvSpPr>
          <p:cNvPr id="11" name="Объект 1">
            <a:extLst>
              <a:ext uri="{FF2B5EF4-FFF2-40B4-BE49-F238E27FC236}">
                <a16:creationId xmlns:a16="http://schemas.microsoft.com/office/drawing/2014/main" id="{B32701FA-4501-4C4B-9BAB-659F327D7E2D}"/>
              </a:ext>
            </a:extLst>
          </p:cNvPr>
          <p:cNvSpPr txBox="1">
            <a:spLocks/>
          </p:cNvSpPr>
          <p:nvPr/>
        </p:nvSpPr>
        <p:spPr>
          <a:xfrm>
            <a:off x="571499" y="1013389"/>
            <a:ext cx="5023619" cy="54274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66700" indent="-266700" algn="l" defTabSz="914400" rtl="0" eaLnBrk="1" latinLnBrk="0" hangingPunct="1">
              <a:lnSpc>
                <a:spcPct val="80000"/>
              </a:lnSpc>
              <a:spcBef>
                <a:spcPts val="500"/>
              </a:spcBef>
              <a:buClr>
                <a:schemeClr val="tx2"/>
              </a:buClr>
              <a:buSzPct val="100000"/>
              <a:buFont typeface="Wingdings 2" panose="05020102010507070707" pitchFamily="18" charset="2"/>
              <a:buChar char="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7675" indent="-180975" algn="l" defTabSz="914400" rtl="0" eaLnBrk="1" latinLnBrk="0" hangingPunct="1">
              <a:lnSpc>
                <a:spcPct val="80000"/>
              </a:lnSpc>
              <a:spcBef>
                <a:spcPts val="250"/>
              </a:spcBef>
              <a:buClr>
                <a:schemeClr val="tx2"/>
              </a:buClr>
              <a:buSzPct val="100000"/>
              <a:buFont typeface="Wingdings 2" panose="05020102010507070707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8650" indent="-177800" algn="l" defTabSz="914400" rtl="0" eaLnBrk="1" latinLnBrk="0" hangingPunct="1">
              <a:lnSpc>
                <a:spcPct val="80000"/>
              </a:lnSpc>
              <a:spcBef>
                <a:spcPts val="250"/>
              </a:spcBef>
              <a:buFont typeface="Gilroy" panose="00000500000000000000" pitchFamily="50" charset="-52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8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 algn="just" defTabSz="957263">
              <a:spcBef>
                <a:spcPts val="1200"/>
              </a:spcBef>
              <a:buFont typeface="Wingdings" panose="05000000000000000000" pitchFamily="2" charset="2"/>
              <a:buChar char="Ø"/>
              <a:defRPr/>
            </a:pPr>
            <a:r>
              <a:rPr lang="ru-RU" sz="1600" b="0" dirty="0">
                <a:solidFill>
                  <a:schemeClr val="tx1"/>
                </a:solidFill>
              </a:rPr>
              <a:t>Получить денежные средства досрочно, по факту подтверждения отгрузки товара</a:t>
            </a:r>
          </a:p>
          <a:p>
            <a:pPr marL="285750" indent="-285750" algn="just" defTabSz="957263">
              <a:spcBef>
                <a:spcPts val="1200"/>
              </a:spcBef>
              <a:buFont typeface="Wingdings" panose="05000000000000000000" pitchFamily="2" charset="2"/>
              <a:buChar char="Ø"/>
              <a:defRPr/>
            </a:pPr>
            <a:endParaRPr lang="ru-RU" sz="1600" b="0" dirty="0">
              <a:solidFill>
                <a:schemeClr val="tx1"/>
              </a:solidFill>
            </a:endParaRPr>
          </a:p>
          <a:p>
            <a:pPr marL="285750" indent="-285750" algn="just" defTabSz="957263">
              <a:spcBef>
                <a:spcPts val="1200"/>
              </a:spcBef>
              <a:buFont typeface="Wingdings" panose="05000000000000000000" pitchFamily="2" charset="2"/>
              <a:buChar char="Ø"/>
              <a:defRPr/>
            </a:pPr>
            <a:r>
              <a:rPr lang="ru-RU" sz="1600" b="0" dirty="0">
                <a:solidFill>
                  <a:schemeClr val="tx1"/>
                </a:solidFill>
              </a:rPr>
              <a:t>Получить эффективные условия кредитования на период отсрочки, отсутствие залогов, расходов на оформление кредита и страхование залога</a:t>
            </a:r>
          </a:p>
          <a:p>
            <a:pPr marL="285750" indent="-285750" algn="just" defTabSz="957263">
              <a:spcBef>
                <a:spcPts val="1200"/>
              </a:spcBef>
              <a:buFont typeface="Wingdings" panose="05000000000000000000" pitchFamily="2" charset="2"/>
              <a:buChar char="Ø"/>
              <a:defRPr/>
            </a:pPr>
            <a:endParaRPr lang="ru-RU" sz="1600" b="0" dirty="0">
              <a:solidFill>
                <a:schemeClr val="tx1"/>
              </a:solidFill>
            </a:endParaRPr>
          </a:p>
          <a:p>
            <a:pPr marL="285750" indent="-285750" algn="just" defTabSz="957263">
              <a:spcBef>
                <a:spcPts val="1200"/>
              </a:spcBef>
              <a:buFont typeface="Wingdings" panose="05000000000000000000" pitchFamily="2" charset="2"/>
              <a:buChar char="Ø"/>
              <a:defRPr/>
            </a:pPr>
            <a:r>
              <a:rPr lang="ru-RU" sz="1600" b="0" dirty="0">
                <a:solidFill>
                  <a:schemeClr val="tx1"/>
                </a:solidFill>
              </a:rPr>
              <a:t>Снять риски несвоевременной оплаты Покупателем (при безрегрессном факторинге)</a:t>
            </a:r>
          </a:p>
          <a:p>
            <a:pPr marL="285750" indent="-285750" algn="just" defTabSz="957263">
              <a:spcBef>
                <a:spcPts val="1200"/>
              </a:spcBef>
              <a:buFont typeface="Wingdings" panose="05000000000000000000" pitchFamily="2" charset="2"/>
              <a:buChar char="Ø"/>
              <a:defRPr/>
            </a:pPr>
            <a:endParaRPr lang="ru-RU" sz="1600" b="0" dirty="0">
              <a:solidFill>
                <a:schemeClr val="tx1"/>
              </a:solidFill>
            </a:endParaRPr>
          </a:p>
          <a:p>
            <a:pPr marL="285750" indent="-285750" algn="just" defTabSz="957263">
              <a:spcBef>
                <a:spcPts val="1200"/>
              </a:spcBef>
              <a:buFont typeface="Wingdings" panose="05000000000000000000" pitchFamily="2" charset="2"/>
              <a:buChar char="Ø"/>
              <a:defRPr/>
            </a:pPr>
            <a:r>
              <a:rPr lang="ru-RU" sz="1600" b="0" dirty="0">
                <a:solidFill>
                  <a:schemeClr val="tx1"/>
                </a:solidFill>
              </a:rPr>
              <a:t>Уменьшить долговую нагрузку и улучшить структуру баланса (продавая ДЗ Фактору, Поставщик списывает ее с баланса, тем самым улучшая свои финансовые показатели)</a:t>
            </a:r>
          </a:p>
          <a:p>
            <a:pPr marL="285750" indent="-285750" algn="just" defTabSz="957263">
              <a:spcBef>
                <a:spcPts val="1200"/>
              </a:spcBef>
              <a:buFont typeface="Wingdings" panose="05000000000000000000" pitchFamily="2" charset="2"/>
              <a:buChar char="Ø"/>
              <a:defRPr/>
            </a:pPr>
            <a:r>
              <a:rPr lang="ru-RU" sz="1600" b="0" dirty="0">
                <a:solidFill>
                  <a:schemeClr val="tx1"/>
                </a:solidFill>
                <a:cs typeface="Arial" pitchFamily="34" charset="0"/>
              </a:rPr>
              <a:t>Передать управление и сбор дебиторской задолженности Фактору, высвобождая время и ресурсы</a:t>
            </a:r>
          </a:p>
        </p:txBody>
      </p:sp>
      <p:sp>
        <p:nvSpPr>
          <p:cNvPr id="12" name="Объект 1">
            <a:extLst>
              <a:ext uri="{FF2B5EF4-FFF2-40B4-BE49-F238E27FC236}">
                <a16:creationId xmlns:a16="http://schemas.microsoft.com/office/drawing/2014/main" id="{F6A0C16E-963D-49D8-9D0C-5410F24E514C}"/>
              </a:ext>
            </a:extLst>
          </p:cNvPr>
          <p:cNvSpPr txBox="1">
            <a:spLocks/>
          </p:cNvSpPr>
          <p:nvPr/>
        </p:nvSpPr>
        <p:spPr>
          <a:xfrm>
            <a:off x="6023868" y="1013389"/>
            <a:ext cx="5140601" cy="572965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66700" indent="-266700" algn="l" defTabSz="914400" rtl="0" eaLnBrk="1" latinLnBrk="0" hangingPunct="1">
              <a:lnSpc>
                <a:spcPct val="80000"/>
              </a:lnSpc>
              <a:spcBef>
                <a:spcPts val="500"/>
              </a:spcBef>
              <a:buClr>
                <a:schemeClr val="tx2"/>
              </a:buClr>
              <a:buSzPct val="100000"/>
              <a:buFont typeface="Wingdings 2" panose="05020102010507070707" pitchFamily="18" charset="2"/>
              <a:buChar char="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7675" indent="-180975" algn="l" defTabSz="914400" rtl="0" eaLnBrk="1" latinLnBrk="0" hangingPunct="1">
              <a:lnSpc>
                <a:spcPct val="80000"/>
              </a:lnSpc>
              <a:spcBef>
                <a:spcPts val="250"/>
              </a:spcBef>
              <a:buClr>
                <a:schemeClr val="tx2"/>
              </a:buClr>
              <a:buSzPct val="100000"/>
              <a:buFont typeface="Wingdings 2" panose="05020102010507070707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8650" indent="-177800" algn="l" defTabSz="914400" rtl="0" eaLnBrk="1" latinLnBrk="0" hangingPunct="1">
              <a:lnSpc>
                <a:spcPct val="80000"/>
              </a:lnSpc>
              <a:spcBef>
                <a:spcPts val="250"/>
              </a:spcBef>
              <a:buFont typeface="Gilroy" panose="00000500000000000000" pitchFamily="50" charset="-52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8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 algn="just" defTabSz="957263">
              <a:spcBef>
                <a:spcPts val="1200"/>
              </a:spcBef>
              <a:buFont typeface="Wingdings" panose="05000000000000000000" pitchFamily="2" charset="2"/>
              <a:buChar char="Ø"/>
              <a:defRPr/>
            </a:pPr>
            <a:r>
              <a:rPr lang="ru-RU" sz="1600" b="0" dirty="0">
                <a:solidFill>
                  <a:schemeClr val="tx1"/>
                </a:solidFill>
              </a:rPr>
              <a:t>Сбер Факторинг </a:t>
            </a:r>
          </a:p>
          <a:p>
            <a:pPr marL="285750" indent="-285750" algn="just" defTabSz="957263">
              <a:spcBef>
                <a:spcPts val="1200"/>
              </a:spcBef>
              <a:buFont typeface="Wingdings" panose="05000000000000000000" pitchFamily="2" charset="2"/>
              <a:buChar char="Ø"/>
              <a:defRPr/>
            </a:pPr>
            <a:r>
              <a:rPr lang="ru-RU" sz="1600" b="0" dirty="0">
                <a:solidFill>
                  <a:schemeClr val="tx1"/>
                </a:solidFill>
              </a:rPr>
              <a:t>Альфа-Банк</a:t>
            </a:r>
          </a:p>
          <a:p>
            <a:pPr marL="285750" indent="-285750" algn="just" defTabSz="957263">
              <a:spcBef>
                <a:spcPts val="1200"/>
              </a:spcBef>
              <a:buFont typeface="Wingdings" panose="05000000000000000000" pitchFamily="2" charset="2"/>
              <a:buChar char="Ø"/>
              <a:defRPr/>
            </a:pPr>
            <a:r>
              <a:rPr lang="ru-RU" sz="1600" b="0" dirty="0">
                <a:solidFill>
                  <a:schemeClr val="tx1"/>
                </a:solidFill>
              </a:rPr>
              <a:t>БСПБ Факторинг (Банк Санкт-Петербург)</a:t>
            </a:r>
          </a:p>
          <a:p>
            <a:pPr marL="285750" indent="-285750" algn="just" defTabSz="957263">
              <a:spcBef>
                <a:spcPts val="1200"/>
              </a:spcBef>
              <a:buFont typeface="Wingdings" panose="05000000000000000000" pitchFamily="2" charset="2"/>
              <a:buChar char="Ø"/>
              <a:defRPr/>
            </a:pPr>
            <a:r>
              <a:rPr lang="ru-RU" sz="1600" b="0" dirty="0">
                <a:solidFill>
                  <a:schemeClr val="tx1"/>
                </a:solidFill>
              </a:rPr>
              <a:t>ВТБ Факторинг</a:t>
            </a:r>
          </a:p>
          <a:p>
            <a:pPr marL="285750" indent="-285750" algn="just" defTabSz="957263">
              <a:spcBef>
                <a:spcPts val="1200"/>
              </a:spcBef>
              <a:buFont typeface="Wingdings" panose="05000000000000000000" pitchFamily="2" charset="2"/>
              <a:buChar char="Ø"/>
              <a:defRPr/>
            </a:pPr>
            <a:r>
              <a:rPr lang="ru-RU" sz="1600" b="0" dirty="0">
                <a:solidFill>
                  <a:schemeClr val="tx1"/>
                </a:solidFill>
                <a:cs typeface="Arial" pitchFamily="34" charset="0"/>
              </a:rPr>
              <a:t>ООО Прайм Факторинг </a:t>
            </a:r>
          </a:p>
          <a:p>
            <a:pPr marL="285750" indent="-285750" algn="just" defTabSz="957263">
              <a:spcBef>
                <a:spcPts val="1200"/>
              </a:spcBef>
              <a:buFont typeface="Wingdings" panose="05000000000000000000" pitchFamily="2" charset="2"/>
              <a:buChar char="Ø"/>
              <a:defRPr/>
            </a:pPr>
            <a:r>
              <a:rPr lang="ru-RU" sz="1600" b="0" dirty="0">
                <a:solidFill>
                  <a:schemeClr val="tx1"/>
                </a:solidFill>
                <a:cs typeface="Arial" pitchFamily="34" charset="0"/>
              </a:rPr>
              <a:t>АО Первоуральскбанк </a:t>
            </a:r>
          </a:p>
          <a:p>
            <a:pPr marL="285750" indent="-285750" algn="just" defTabSz="957263">
              <a:spcBef>
                <a:spcPts val="1200"/>
              </a:spcBef>
              <a:buFont typeface="Wingdings" panose="05000000000000000000" pitchFamily="2" charset="2"/>
              <a:buChar char="Ø"/>
              <a:defRPr/>
            </a:pPr>
            <a:r>
              <a:rPr lang="ru-RU" sz="1600" b="0" dirty="0">
                <a:solidFill>
                  <a:schemeClr val="tx1"/>
                </a:solidFill>
                <a:cs typeface="Arial" pitchFamily="34" charset="0"/>
              </a:rPr>
              <a:t>Росагролизинг </a:t>
            </a:r>
          </a:p>
          <a:p>
            <a:pPr marL="285750" indent="-285750" algn="just" defTabSz="957263">
              <a:spcBef>
                <a:spcPts val="1200"/>
              </a:spcBef>
              <a:buFont typeface="Wingdings" panose="05000000000000000000" pitchFamily="2" charset="2"/>
              <a:buChar char="Ø"/>
              <a:defRPr/>
            </a:pPr>
            <a:r>
              <a:rPr lang="ru-RU" sz="1600" b="0" dirty="0">
                <a:solidFill>
                  <a:schemeClr val="tx1"/>
                </a:solidFill>
                <a:cs typeface="Arial" pitchFamily="34" charset="0"/>
              </a:rPr>
              <a:t>АБ Россия </a:t>
            </a:r>
          </a:p>
          <a:p>
            <a:pPr marL="285750" indent="-285750" algn="just" defTabSz="957263">
              <a:spcBef>
                <a:spcPts val="1200"/>
              </a:spcBef>
              <a:buFont typeface="Wingdings" panose="05000000000000000000" pitchFamily="2" charset="2"/>
              <a:buChar char="Ø"/>
              <a:defRPr/>
            </a:pPr>
            <a:r>
              <a:rPr lang="ru-RU" sz="1600" b="0" dirty="0">
                <a:solidFill>
                  <a:schemeClr val="tx1"/>
                </a:solidFill>
                <a:cs typeface="Arial" pitchFamily="34" charset="0"/>
              </a:rPr>
              <a:t>Совкомбанк Факторинг ООО</a:t>
            </a:r>
          </a:p>
          <a:p>
            <a:pPr marL="285750" indent="-285750" algn="just" defTabSz="957263">
              <a:spcBef>
                <a:spcPts val="1200"/>
              </a:spcBef>
              <a:buFont typeface="Wingdings" panose="05000000000000000000" pitchFamily="2" charset="2"/>
              <a:buChar char="Ø"/>
              <a:defRPr/>
            </a:pPr>
            <a:r>
              <a:rPr lang="ru-RU" sz="1600" b="0" dirty="0">
                <a:solidFill>
                  <a:schemeClr val="tx1"/>
                </a:solidFill>
                <a:cs typeface="Arial" pitchFamily="34" charset="0"/>
              </a:rPr>
              <a:t>ПАО «АК БАРС» Банк</a:t>
            </a:r>
          </a:p>
          <a:p>
            <a:pPr marL="285750" indent="-285750" algn="just" defTabSz="957263">
              <a:spcBef>
                <a:spcPts val="1200"/>
              </a:spcBef>
              <a:buFont typeface="Wingdings" panose="05000000000000000000" pitchFamily="2" charset="2"/>
              <a:buChar char="Ø"/>
              <a:defRPr/>
            </a:pPr>
            <a:r>
              <a:rPr lang="ru-RU" sz="1600" b="0" dirty="0">
                <a:solidFill>
                  <a:schemeClr val="tx1"/>
                </a:solidFill>
                <a:cs typeface="Arial" pitchFamily="34" charset="0"/>
              </a:rPr>
              <a:t>РОВИ Факторинг Плюс</a:t>
            </a:r>
          </a:p>
          <a:p>
            <a:pPr marL="285750" indent="-285750" algn="just" defTabSz="957263">
              <a:spcBef>
                <a:spcPts val="1200"/>
              </a:spcBef>
              <a:buFont typeface="Wingdings" panose="05000000000000000000" pitchFamily="2" charset="2"/>
              <a:buChar char="Ø"/>
              <a:defRPr/>
            </a:pPr>
            <a:endParaRPr lang="ru-RU" sz="1600" b="0" dirty="0">
              <a:solidFill>
                <a:schemeClr val="tx1"/>
              </a:solidFill>
              <a:cs typeface="Arial" pitchFamily="34" charset="0"/>
            </a:endParaRPr>
          </a:p>
          <a:p>
            <a:pPr algn="just" defTabSz="957263">
              <a:spcBef>
                <a:spcPts val="1200"/>
              </a:spcBef>
              <a:defRPr/>
            </a:pPr>
            <a:r>
              <a:rPr lang="ru-RU" sz="1400" b="0" dirty="0">
                <a:solidFill>
                  <a:schemeClr val="tx1"/>
                </a:solidFill>
                <a:cs typeface="Arial" pitchFamily="34" charset="0"/>
              </a:rPr>
              <a:t>* Работа на факторинге не ограничивается факторами из списка, рассмотрим любого фактора, предложенного поставщиком;</a:t>
            </a:r>
          </a:p>
          <a:p>
            <a:pPr algn="just" defTabSz="957263">
              <a:spcBef>
                <a:spcPts val="1200"/>
              </a:spcBef>
              <a:defRPr/>
            </a:pPr>
            <a:r>
              <a:rPr lang="ru-RU" sz="1400" b="0" dirty="0">
                <a:solidFill>
                  <a:schemeClr val="tx1"/>
                </a:solidFill>
                <a:cs typeface="Arial" pitchFamily="34" charset="0"/>
              </a:rPr>
              <a:t>* Текущие ставки от Факторов от КС +2,3% до КС + 4,5%. Стоимость зависит от разных факторов: товарооборот, количество дней отсрочки и прочие. </a:t>
            </a:r>
          </a:p>
          <a:p>
            <a:pPr algn="just" defTabSz="957263">
              <a:spcBef>
                <a:spcPts val="1200"/>
              </a:spcBef>
              <a:defRPr/>
            </a:pPr>
            <a:endParaRPr lang="ru-RU" sz="1400" b="0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13" name="Заголовок 1">
            <a:extLst>
              <a:ext uri="{FF2B5EF4-FFF2-40B4-BE49-F238E27FC236}">
                <a16:creationId xmlns:a16="http://schemas.microsoft.com/office/drawing/2014/main" id="{AA0EBCBE-465D-45E4-AFC6-8581264947E5}"/>
              </a:ext>
            </a:extLst>
          </p:cNvPr>
          <p:cNvSpPr txBox="1">
            <a:spLocks/>
          </p:cNvSpPr>
          <p:nvPr/>
        </p:nvSpPr>
        <p:spPr>
          <a:xfrm>
            <a:off x="6023868" y="53400"/>
            <a:ext cx="4638214" cy="769441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200" b="1" dirty="0">
                <a:solidFill>
                  <a:srgbClr val="54585A"/>
                </a:solidFill>
              </a:rPr>
              <a:t>Факторы с лучшими условиями для поставщиков ТС Монетка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2D1679FE-FCD3-4298-B2B5-F6A960AC6CA7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83446" t="14776" r="7962" b="75799"/>
          <a:stretch/>
        </p:blipFill>
        <p:spPr>
          <a:xfrm>
            <a:off x="10326451" y="1607119"/>
            <a:ext cx="591789" cy="365125"/>
          </a:xfrm>
          <a:prstGeom prst="rect">
            <a:avLst/>
          </a:prstGeom>
        </p:spPr>
      </p:pic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5568F249-C53F-41E1-9506-364926FF151A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51369" y="915087"/>
            <a:ext cx="1118110" cy="354477"/>
          </a:xfrm>
          <a:prstGeom prst="rect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E8EEB533-6510-41AE-8515-D9CA504FE70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506198" y="1224490"/>
            <a:ext cx="449028" cy="423530"/>
          </a:xfrm>
          <a:prstGeom prst="rect">
            <a:avLst/>
          </a:prstGeom>
        </p:spPr>
      </p:pic>
      <p:pic>
        <p:nvPicPr>
          <p:cNvPr id="9246" name="Picture 30" descr="VTB-factoring_logo_ru">
            <a:extLst>
              <a:ext uri="{FF2B5EF4-FFF2-40B4-BE49-F238E27FC236}">
                <a16:creationId xmlns:a16="http://schemas.microsoft.com/office/drawing/2014/main" id="{4335A539-01A9-4E9D-828E-9BB19FDA33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62127" y="1907737"/>
            <a:ext cx="1288141" cy="4570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4496716F-4C0D-4957-B80D-1B08EC73B7FF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1747" t="12819" r="79248" b="80898"/>
          <a:stretch/>
        </p:blipFill>
        <p:spPr>
          <a:xfrm>
            <a:off x="9833723" y="2297540"/>
            <a:ext cx="1316545" cy="244827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D98EB340-4DC8-4FD3-BCFC-33B0351A063E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l="1966" t="12505" r="80631" b="82145"/>
          <a:stretch/>
        </p:blipFill>
        <p:spPr>
          <a:xfrm>
            <a:off x="9847924" y="2697279"/>
            <a:ext cx="1316545" cy="227648"/>
          </a:xfrm>
          <a:prstGeom prst="rect">
            <a:avLst/>
          </a:prstGeom>
        </p:spPr>
      </p:pic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D43D74D8-19E2-4BAD-BAB2-BBE73AF36734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l="20025" t="12034" r="70000" b="84207"/>
          <a:stretch/>
        </p:blipFill>
        <p:spPr>
          <a:xfrm>
            <a:off x="9934026" y="2998611"/>
            <a:ext cx="1216242" cy="257784"/>
          </a:xfrm>
          <a:prstGeom prst="rect">
            <a:avLst/>
          </a:prstGeom>
        </p:spPr>
      </p:pic>
      <p:pic>
        <p:nvPicPr>
          <p:cNvPr id="19" name="Рисунок 18">
            <a:extLst>
              <a:ext uri="{FF2B5EF4-FFF2-40B4-BE49-F238E27FC236}">
                <a16:creationId xmlns:a16="http://schemas.microsoft.com/office/drawing/2014/main" id="{C30E67BC-2C75-4C19-B958-833108C69071}"/>
              </a:ext>
            </a:extLst>
          </p:cNvPr>
          <p:cNvPicPr>
            <a:picLocks noChangeAspect="1"/>
          </p:cNvPicPr>
          <p:nvPr/>
        </p:nvPicPr>
        <p:blipFill rotWithShape="1">
          <a:blip r:embed="rId13"/>
          <a:srcRect l="21117" t="20755" r="64247" b="75016"/>
          <a:stretch/>
        </p:blipFill>
        <p:spPr>
          <a:xfrm>
            <a:off x="9738718" y="3340734"/>
            <a:ext cx="1411550" cy="229424"/>
          </a:xfrm>
          <a:prstGeom prst="rect">
            <a:avLst/>
          </a:prstGeom>
        </p:spPr>
      </p:pic>
      <p:pic>
        <p:nvPicPr>
          <p:cNvPr id="21" name="Рисунок 20">
            <a:extLst>
              <a:ext uri="{FF2B5EF4-FFF2-40B4-BE49-F238E27FC236}">
                <a16:creationId xmlns:a16="http://schemas.microsoft.com/office/drawing/2014/main" id="{BBAD2E8D-EB4E-4D84-8830-06B57A7EE244}"/>
              </a:ext>
            </a:extLst>
          </p:cNvPr>
          <p:cNvPicPr>
            <a:picLocks noChangeAspect="1"/>
          </p:cNvPicPr>
          <p:nvPr/>
        </p:nvPicPr>
        <p:blipFill rotWithShape="1">
          <a:blip r:embed="rId14"/>
          <a:srcRect l="20534" t="14276" r="68762" b="81488"/>
          <a:stretch/>
        </p:blipFill>
        <p:spPr>
          <a:xfrm>
            <a:off x="9833723" y="3695493"/>
            <a:ext cx="1305017" cy="290472"/>
          </a:xfrm>
          <a:prstGeom prst="rect">
            <a:avLst/>
          </a:prstGeom>
        </p:spPr>
      </p:pic>
      <p:pic>
        <p:nvPicPr>
          <p:cNvPr id="23" name="Рисунок 22">
            <a:extLst>
              <a:ext uri="{FF2B5EF4-FFF2-40B4-BE49-F238E27FC236}">
                <a16:creationId xmlns:a16="http://schemas.microsoft.com/office/drawing/2014/main" id="{E5BE9ADF-A002-490A-8027-11373A3B4590}"/>
              </a:ext>
            </a:extLst>
          </p:cNvPr>
          <p:cNvPicPr>
            <a:picLocks noChangeAspect="1"/>
          </p:cNvPicPr>
          <p:nvPr/>
        </p:nvPicPr>
        <p:blipFill rotWithShape="1">
          <a:blip r:embed="rId15"/>
          <a:srcRect l="18786" t="26288" r="75097" b="66498"/>
          <a:stretch/>
        </p:blipFill>
        <p:spPr>
          <a:xfrm>
            <a:off x="10477409" y="4019296"/>
            <a:ext cx="564473" cy="374468"/>
          </a:xfrm>
          <a:prstGeom prst="rect">
            <a:avLst/>
          </a:prstGeom>
        </p:spPr>
      </p:pic>
      <p:pic>
        <p:nvPicPr>
          <p:cNvPr id="25" name="Рисунок 24">
            <a:extLst>
              <a:ext uri="{FF2B5EF4-FFF2-40B4-BE49-F238E27FC236}">
                <a16:creationId xmlns:a16="http://schemas.microsoft.com/office/drawing/2014/main" id="{BF20917A-F4F9-4B86-9BA2-2F55D599EB6B}"/>
              </a:ext>
            </a:extLst>
          </p:cNvPr>
          <p:cNvPicPr>
            <a:picLocks noChangeAspect="1"/>
          </p:cNvPicPr>
          <p:nvPr/>
        </p:nvPicPr>
        <p:blipFill rotWithShape="1">
          <a:blip r:embed="rId16"/>
          <a:srcRect l="6875" t="13343" r="87622" b="82145"/>
          <a:stretch/>
        </p:blipFill>
        <p:spPr>
          <a:xfrm>
            <a:off x="10422110" y="4455845"/>
            <a:ext cx="671004" cy="3094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421198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54585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549C8568-01ED-459F-B7EE-6A59640E4E50}"/>
              </a:ext>
            </a:extLst>
          </p:cNvPr>
          <p:cNvSpPr/>
          <p:nvPr/>
        </p:nvSpPr>
        <p:spPr>
          <a:xfrm rot="16200000">
            <a:off x="8518266" y="3367817"/>
            <a:ext cx="6858001" cy="122366"/>
          </a:xfrm>
          <a:prstGeom prst="rect">
            <a:avLst/>
          </a:prstGeom>
          <a:gradFill flip="none" rotWithShape="1">
            <a:gsLst>
              <a:gs pos="0">
                <a:srgbClr val="78BE20"/>
              </a:gs>
              <a:gs pos="40000">
                <a:srgbClr val="ED8B00"/>
              </a:gs>
              <a:gs pos="91000">
                <a:srgbClr val="54585A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ru-RU" sz="1400" dirty="0">
              <a:solidFill>
                <a:srgbClr val="EE862C"/>
              </a:solidFill>
              <a:latin typeface="+mj-lt"/>
            </a:endParaRP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AA351D81-6F99-42B1-A9AB-C56F96971463}"/>
              </a:ext>
            </a:extLst>
          </p:cNvPr>
          <p:cNvSpPr/>
          <p:nvPr/>
        </p:nvSpPr>
        <p:spPr>
          <a:xfrm rot="16200000">
            <a:off x="8701816" y="3367816"/>
            <a:ext cx="6858001" cy="122366"/>
          </a:xfrm>
          <a:prstGeom prst="rect">
            <a:avLst/>
          </a:prstGeom>
          <a:gradFill flip="none" rotWithShape="1">
            <a:gsLst>
              <a:gs pos="0">
                <a:srgbClr val="78BE20"/>
              </a:gs>
              <a:gs pos="40000">
                <a:srgbClr val="ED8B00"/>
              </a:gs>
              <a:gs pos="91000">
                <a:srgbClr val="54585A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ru-RU" sz="1400" dirty="0">
              <a:solidFill>
                <a:srgbClr val="EE862C"/>
              </a:solidFill>
              <a:latin typeface="+mj-lt"/>
            </a:endParaRP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EA649C31-1FFD-444B-B3F5-F98551FACA57}"/>
              </a:ext>
            </a:extLst>
          </p:cNvPr>
          <p:cNvSpPr/>
          <p:nvPr/>
        </p:nvSpPr>
        <p:spPr>
          <a:xfrm rot="16200000">
            <a:off x="8331634" y="3378214"/>
            <a:ext cx="6858001" cy="116196"/>
          </a:xfrm>
          <a:prstGeom prst="rect">
            <a:avLst/>
          </a:prstGeom>
          <a:gradFill flip="none" rotWithShape="1">
            <a:gsLst>
              <a:gs pos="0">
                <a:srgbClr val="78BE20"/>
              </a:gs>
              <a:gs pos="40000">
                <a:srgbClr val="ED8B00"/>
              </a:gs>
              <a:gs pos="91000">
                <a:srgbClr val="54585A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ru-RU" sz="1400" dirty="0">
              <a:solidFill>
                <a:srgbClr val="EE862C"/>
              </a:solidFill>
              <a:latin typeface="+mj-lt"/>
            </a:endParaRP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CED47B67-E5A0-437C-91C7-A6A02C12BAD5}"/>
              </a:ext>
            </a:extLst>
          </p:cNvPr>
          <p:cNvSpPr/>
          <p:nvPr/>
        </p:nvSpPr>
        <p:spPr>
          <a:xfrm rot="16200000">
            <a:off x="7965595" y="3367820"/>
            <a:ext cx="6858001" cy="122366"/>
          </a:xfrm>
          <a:prstGeom prst="rect">
            <a:avLst/>
          </a:prstGeom>
          <a:gradFill flip="none" rotWithShape="1">
            <a:gsLst>
              <a:gs pos="0">
                <a:srgbClr val="78BE20"/>
              </a:gs>
              <a:gs pos="40000">
                <a:srgbClr val="ED8B00"/>
              </a:gs>
              <a:gs pos="91000">
                <a:srgbClr val="54585A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ru-RU" sz="1400" dirty="0">
              <a:solidFill>
                <a:srgbClr val="EE862C"/>
              </a:solidFill>
              <a:latin typeface="+mj-lt"/>
            </a:endParaRPr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728B7FC8-5301-41B6-AD09-92EE10697F4B}"/>
              </a:ext>
            </a:extLst>
          </p:cNvPr>
          <p:cNvSpPr/>
          <p:nvPr/>
        </p:nvSpPr>
        <p:spPr>
          <a:xfrm rot="16200000">
            <a:off x="7771160" y="3367817"/>
            <a:ext cx="6858001" cy="122366"/>
          </a:xfrm>
          <a:prstGeom prst="rect">
            <a:avLst/>
          </a:prstGeom>
          <a:gradFill flip="none" rotWithShape="1">
            <a:gsLst>
              <a:gs pos="0">
                <a:srgbClr val="78BE20"/>
              </a:gs>
              <a:gs pos="40000">
                <a:srgbClr val="ED8B00"/>
              </a:gs>
              <a:gs pos="91000">
                <a:srgbClr val="54585A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ru-RU" sz="1400" dirty="0">
              <a:solidFill>
                <a:srgbClr val="EE862C"/>
              </a:solidFill>
              <a:latin typeface="+mj-lt"/>
            </a:endParaRP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08B18461-4E3E-4743-9A47-5AD9B46B2542}"/>
              </a:ext>
            </a:extLst>
          </p:cNvPr>
          <p:cNvSpPr/>
          <p:nvPr/>
        </p:nvSpPr>
        <p:spPr>
          <a:xfrm rot="16200000">
            <a:off x="7579083" y="3375132"/>
            <a:ext cx="6858001" cy="122366"/>
          </a:xfrm>
          <a:prstGeom prst="rect">
            <a:avLst/>
          </a:prstGeom>
          <a:gradFill flip="none" rotWithShape="1">
            <a:gsLst>
              <a:gs pos="0">
                <a:srgbClr val="78BE20"/>
              </a:gs>
              <a:gs pos="40000">
                <a:srgbClr val="ED8B00"/>
              </a:gs>
              <a:gs pos="91000">
                <a:srgbClr val="54585A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ru-RU" sz="1400" dirty="0">
              <a:solidFill>
                <a:srgbClr val="EE862C"/>
              </a:solidFill>
              <a:latin typeface="+mj-lt"/>
            </a:endParaRPr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CF43D848-5F89-42C4-A7FD-5AE4F4109EEA}"/>
              </a:ext>
            </a:extLst>
          </p:cNvPr>
          <p:cNvSpPr/>
          <p:nvPr/>
        </p:nvSpPr>
        <p:spPr>
          <a:xfrm rot="16200000">
            <a:off x="8150655" y="3378702"/>
            <a:ext cx="6858001" cy="122366"/>
          </a:xfrm>
          <a:prstGeom prst="rect">
            <a:avLst/>
          </a:prstGeom>
          <a:gradFill flip="none" rotWithShape="1">
            <a:gsLst>
              <a:gs pos="0">
                <a:srgbClr val="78BE20"/>
              </a:gs>
              <a:gs pos="40000">
                <a:srgbClr val="ED8B00"/>
              </a:gs>
              <a:gs pos="91000">
                <a:srgbClr val="54585A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ru-RU" sz="1400" dirty="0">
              <a:solidFill>
                <a:srgbClr val="EE862C"/>
              </a:solidFill>
              <a:latin typeface="+mj-lt"/>
            </a:endParaRPr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49551DC4-2A80-4F12-9CF5-A4BF519323E6}"/>
              </a:ext>
            </a:extLst>
          </p:cNvPr>
          <p:cNvSpPr txBox="1">
            <a:spLocks/>
          </p:cNvSpPr>
          <p:nvPr/>
        </p:nvSpPr>
        <p:spPr>
          <a:xfrm>
            <a:off x="551161" y="1966462"/>
            <a:ext cx="9638060" cy="418576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400" b="1" dirty="0">
                <a:solidFill>
                  <a:schemeClr val="bg1"/>
                </a:solidFill>
                <a:latin typeface="Calibri" panose="020F0502020204030204" pitchFamily="34" charset="0"/>
              </a:rPr>
              <a:t>Контакты для оформления заявки по переходу на Факторинг</a:t>
            </a:r>
          </a:p>
          <a:p>
            <a:endParaRPr lang="ru-RU" sz="1800" b="1" dirty="0">
              <a:solidFill>
                <a:schemeClr val="bg1"/>
              </a:solidFill>
            </a:endParaRPr>
          </a:p>
          <a:p>
            <a:endParaRPr lang="ru-RU" sz="1800" b="1" dirty="0">
              <a:solidFill>
                <a:schemeClr val="bg1"/>
              </a:solidFill>
            </a:endParaRPr>
          </a:p>
          <a:p>
            <a:r>
              <a:rPr lang="ru-RU" sz="1800" b="1" dirty="0">
                <a:solidFill>
                  <a:schemeClr val="bg1"/>
                </a:solidFill>
              </a:rPr>
              <a:t> *</a:t>
            </a:r>
            <a:r>
              <a:rPr lang="ru-RU" sz="1800" b="1" i="0" u="none" strike="noStrike" dirty="0">
                <a:solidFill>
                  <a:schemeClr val="bg1"/>
                </a:solidFill>
                <a:effectLst/>
                <a:latin typeface="Calibri" panose="020F0502020204030204" pitchFamily="34" charset="0"/>
              </a:rPr>
              <a:t>Клочкова Оксана - Бухгалтер oklochkova@monetka.ru</a:t>
            </a:r>
          </a:p>
          <a:p>
            <a:endParaRPr lang="ru-RU" sz="1800" b="1" dirty="0">
              <a:solidFill>
                <a:schemeClr val="bg1"/>
              </a:solidFill>
            </a:endParaRPr>
          </a:p>
          <a:p>
            <a:endParaRPr lang="ru-RU" sz="2200" b="1" dirty="0">
              <a:solidFill>
                <a:schemeClr val="bg1"/>
              </a:solidFill>
            </a:endParaRPr>
          </a:p>
          <a:p>
            <a:endParaRPr lang="ru-RU" sz="2200" b="1" dirty="0">
              <a:solidFill>
                <a:schemeClr val="bg1"/>
              </a:solidFill>
            </a:endParaRPr>
          </a:p>
          <a:p>
            <a:r>
              <a:rPr lang="ru-RU" sz="2200" b="1" dirty="0">
                <a:solidFill>
                  <a:schemeClr val="bg1"/>
                </a:solidFill>
              </a:rPr>
              <a:t>* </a:t>
            </a:r>
            <a:r>
              <a:rPr lang="ru-RU" sz="1800" b="1" i="0" u="none" strike="noStrike" dirty="0">
                <a:solidFill>
                  <a:schemeClr val="bg1"/>
                </a:solidFill>
                <a:effectLst/>
                <a:latin typeface="Calibri" panose="020F0502020204030204" pitchFamily="34" charset="0"/>
              </a:rPr>
              <a:t>Мерзлякова Кристина - Руководитель банковской группы kmerzlyakova@monetka.ru</a:t>
            </a:r>
          </a:p>
          <a:p>
            <a:endParaRPr lang="ru-RU" sz="2200" b="1" dirty="0">
              <a:solidFill>
                <a:schemeClr val="bg1"/>
              </a:solidFill>
            </a:endParaRPr>
          </a:p>
          <a:p>
            <a:endParaRPr lang="ru-RU" sz="2200" b="1" dirty="0">
              <a:solidFill>
                <a:schemeClr val="bg1"/>
              </a:solidFill>
            </a:endParaRPr>
          </a:p>
          <a:p>
            <a:endParaRPr lang="ru-RU" sz="2200" b="1" dirty="0">
              <a:solidFill>
                <a:schemeClr val="bg1"/>
              </a:solidFill>
            </a:endParaRPr>
          </a:p>
          <a:p>
            <a:endParaRPr lang="ru-RU" sz="2200" b="1" dirty="0">
              <a:solidFill>
                <a:schemeClr val="bg1"/>
              </a:solidFill>
            </a:endParaRPr>
          </a:p>
          <a:p>
            <a:endParaRPr lang="ru-RU" sz="2200" b="1" dirty="0">
              <a:solidFill>
                <a:srgbClr val="5458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13335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Шаблон Монетка" id="{7E3743D5-681E-494D-9645-B742F8482300}" vid="{02C8BC4A-8B4C-4AFA-98BE-819549965BC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Шаблон Монетка</Template>
  <TotalTime>300</TotalTime>
  <Words>319</Words>
  <Application>Microsoft Office PowerPoint</Application>
  <PresentationFormat>Широкоэкранный</PresentationFormat>
  <Paragraphs>66</Paragraphs>
  <Slides>4</Slides>
  <Notes>2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4</vt:i4>
      </vt:variant>
    </vt:vector>
  </HeadingPairs>
  <TitlesOfParts>
    <vt:vector size="12" baseType="lpstr">
      <vt:lpstr>Arial</vt:lpstr>
      <vt:lpstr>Calibri</vt:lpstr>
      <vt:lpstr>Calibri Light</vt:lpstr>
      <vt:lpstr>Century Gothic</vt:lpstr>
      <vt:lpstr>Verdana</vt:lpstr>
      <vt:lpstr>Wingdings</vt:lpstr>
      <vt:lpstr>Тема Office</vt:lpstr>
      <vt:lpstr>Слайд think-cell</vt:lpstr>
      <vt:lpstr>Факторинг для товарных поставщиков ТС Монетка</vt:lpstr>
      <vt:lpstr>Презентация PowerPoint</vt:lpstr>
      <vt:lpstr>Преимущества для поставщика 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Шаблон «Монетка»</dc:title>
  <dc:creator>Елена</dc:creator>
  <cp:lastModifiedBy>Кристина М. Мерзлякова</cp:lastModifiedBy>
  <cp:revision>16</cp:revision>
  <dcterms:created xsi:type="dcterms:W3CDTF">2025-03-04T03:20:51Z</dcterms:created>
  <dcterms:modified xsi:type="dcterms:W3CDTF">2025-10-27T09:15:34Z</dcterms:modified>
</cp:coreProperties>
</file>